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6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6"/>
  </p:notesMasterIdLst>
  <p:sldIdLst>
    <p:sldId id="256" r:id="rId2"/>
    <p:sldId id="540" r:id="rId3"/>
    <p:sldId id="551" r:id="rId4"/>
    <p:sldId id="261" r:id="rId5"/>
    <p:sldId id="496" r:id="rId6"/>
    <p:sldId id="548" r:id="rId7"/>
    <p:sldId id="501" r:id="rId8"/>
    <p:sldId id="552" r:id="rId9"/>
    <p:sldId id="536" r:id="rId10"/>
    <p:sldId id="547" r:id="rId11"/>
    <p:sldId id="554" r:id="rId12"/>
    <p:sldId id="555" r:id="rId13"/>
    <p:sldId id="556" r:id="rId14"/>
    <p:sldId id="542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1" autoAdjust="0"/>
    <p:restoredTop sz="89379" autoAdjust="0"/>
  </p:normalViewPr>
  <p:slideViewPr>
    <p:cSldViewPr snapToGrid="0">
      <p:cViewPr varScale="1">
        <p:scale>
          <a:sx n="64" d="100"/>
          <a:sy n="64" d="100"/>
        </p:scale>
        <p:origin x="446" y="72"/>
      </p:cViewPr>
      <p:guideLst/>
    </p:cSldViewPr>
  </p:slideViewPr>
  <p:outlineViewPr>
    <p:cViewPr>
      <p:scale>
        <a:sx n="33" d="100"/>
        <a:sy n="33" d="100"/>
      </p:scale>
      <p:origin x="0" y="-264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ndom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:$L$2</c:f>
              <c:numCache>
                <c:formatCode>_("$"* #,##0_);_("$"* \(#,##0\);_("$"* "-"??_);_(@_)</c:formatCode>
                <c:ptCount val="11"/>
                <c:pt idx="0">
                  <c:v>2005171584.1573977</c:v>
                </c:pt>
                <c:pt idx="1">
                  <c:v>2035530733.6749082</c:v>
                </c:pt>
                <c:pt idx="2">
                  <c:v>2066833700.3990674</c:v>
                </c:pt>
                <c:pt idx="3">
                  <c:v>2099108498.0179884</c:v>
                </c:pt>
                <c:pt idx="4">
                  <c:v>2132384072.2072332</c:v>
                </c:pt>
                <c:pt idx="5">
                  <c:v>2166690331.6736984</c:v>
                </c:pt>
                <c:pt idx="6">
                  <c:v>2199539569.1648369</c:v>
                </c:pt>
                <c:pt idx="7">
                  <c:v>2233356352.3985972</c:v>
                </c:pt>
                <c:pt idx="8">
                  <c:v>2268169065.9012904</c:v>
                </c:pt>
                <c:pt idx="9">
                  <c:v>2304006989.6595778</c:v>
                </c:pt>
                <c:pt idx="10">
                  <c:v>2340900327.9704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1A-48FA-9CB6-71336E2B077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W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3:$L$3</c:f>
              <c:numCache>
                <c:formatCode>_("$"* #,##0_);_("$"* \(#,##0\);_("$"* "-"??_);_(@_)</c:formatCode>
                <c:ptCount val="11"/>
                <c:pt idx="0">
                  <c:v>535564447.43265796</c:v>
                </c:pt>
                <c:pt idx="1">
                  <c:v>542778235.31422329</c:v>
                </c:pt>
                <c:pt idx="2">
                  <c:v>550154377.60227513</c:v>
                </c:pt>
                <c:pt idx="3">
                  <c:v>557697203.59153259</c:v>
                </c:pt>
                <c:pt idx="4">
                  <c:v>565411172.33230793</c:v>
                </c:pt>
                <c:pt idx="5">
                  <c:v>573300876.73249102</c:v>
                </c:pt>
                <c:pt idx="6">
                  <c:v>580768963.52825022</c:v>
                </c:pt>
                <c:pt idx="7">
                  <c:v>588404587.51440954</c:v>
                </c:pt>
                <c:pt idx="8">
                  <c:v>596212083.89843941</c:v>
                </c:pt>
                <c:pt idx="9">
                  <c:v>604195913.84642065</c:v>
                </c:pt>
                <c:pt idx="10">
                  <c:v>612360668.3209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1A-48FA-9CB6-71336E2B0779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SM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4:$L$4</c:f>
              <c:numCache>
                <c:formatCode>_("$"* #,##0_);_("$"* \(#,##0\);_("$"* "-"??_);_(@_)</c:formatCode>
                <c:ptCount val="11"/>
                <c:pt idx="0">
                  <c:v>602816039.90388668</c:v>
                </c:pt>
                <c:pt idx="1">
                  <c:v>610279108.32486439</c:v>
                </c:pt>
                <c:pt idx="2">
                  <c:v>617878316.6068536</c:v>
                </c:pt>
                <c:pt idx="3">
                  <c:v>625616811.59121084</c:v>
                </c:pt>
                <c:pt idx="4">
                  <c:v>633497829.34049058</c:v>
                </c:pt>
                <c:pt idx="5">
                  <c:v>641524697.91670609</c:v>
                </c:pt>
                <c:pt idx="6">
                  <c:v>649073649.19563723</c:v>
                </c:pt>
                <c:pt idx="7">
                  <c:v>656751978.15012574</c:v>
                </c:pt>
                <c:pt idx="8">
                  <c:v>664562389.2071377</c:v>
                </c:pt>
                <c:pt idx="9">
                  <c:v>672507653.34259868</c:v>
                </c:pt>
                <c:pt idx="10">
                  <c:v>680590609.83718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1A-48FA-9CB6-71336E2B0779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Transgender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5:$L$5</c:f>
              <c:numCache>
                <c:formatCode>_("$"* #,##0_);_("$"* \(#,##0\);_("$"* "-"??_);_(@_)</c:formatCode>
                <c:ptCount val="11"/>
                <c:pt idx="0">
                  <c:v>33681385.255934916</c:v>
                </c:pt>
                <c:pt idx="1">
                  <c:v>34177017.204922467</c:v>
                </c:pt>
                <c:pt idx="2">
                  <c:v>34683016.202744462</c:v>
                </c:pt>
                <c:pt idx="3">
                  <c:v>35199636.513896085</c:v>
                </c:pt>
                <c:pt idx="4">
                  <c:v>35727139.434188083</c:v>
                </c:pt>
                <c:pt idx="5">
                  <c:v>36265793.49665831</c:v>
                </c:pt>
                <c:pt idx="6">
                  <c:v>36765979.668628685</c:v>
                </c:pt>
                <c:pt idx="7">
                  <c:v>37275882.122624226</c:v>
                </c:pt>
                <c:pt idx="8">
                  <c:v>37795716.66807723</c:v>
                </c:pt>
                <c:pt idx="9">
                  <c:v>38325704.375842407</c:v>
                </c:pt>
                <c:pt idx="10">
                  <c:v>38866071.711196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01A-48FA-9CB6-71336E2B0779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PWID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6:$L$6</c:f>
              <c:numCache>
                <c:formatCode>_("$"* #,##0_);_("$"* \(#,##0\);_("$"* "-"??_);_(@_)</c:formatCode>
                <c:ptCount val="11"/>
                <c:pt idx="0">
                  <c:v>653337951.79099393</c:v>
                </c:pt>
                <c:pt idx="1">
                  <c:v>662733647.37717807</c:v>
                </c:pt>
                <c:pt idx="2">
                  <c:v>672319581.12359321</c:v>
                </c:pt>
                <c:pt idx="3">
                  <c:v>682100117.50997686</c:v>
                </c:pt>
                <c:pt idx="4">
                  <c:v>692079735.94164038</c:v>
                </c:pt>
                <c:pt idx="5">
                  <c:v>702263034.05968308</c:v>
                </c:pt>
                <c:pt idx="6">
                  <c:v>712027150.85330939</c:v>
                </c:pt>
                <c:pt idx="7">
                  <c:v>721978107.21018362</c:v>
                </c:pt>
                <c:pt idx="8">
                  <c:v>732119774.29365432</c:v>
                </c:pt>
                <c:pt idx="9">
                  <c:v>742456111.27770352</c:v>
                </c:pt>
                <c:pt idx="10">
                  <c:v>752991167.4533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1A-48FA-9CB6-71336E2B0779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OS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7:$L$7</c:f>
              <c:numCache>
                <c:formatCode>_("$"* #,##0_);_("$"* \(#,##0\);_("$"* "-"??_);_(@_)</c:formatCode>
                <c:ptCount val="11"/>
                <c:pt idx="0">
                  <c:v>812298849.73529601</c:v>
                </c:pt>
                <c:pt idx="1">
                  <c:v>819341850.43669915</c:v>
                </c:pt>
                <c:pt idx="2">
                  <c:v>799350968.72788465</c:v>
                </c:pt>
                <c:pt idx="3">
                  <c:v>773614160.59845901</c:v>
                </c:pt>
                <c:pt idx="4">
                  <c:v>741883624.81614304</c:v>
                </c:pt>
                <c:pt idx="5">
                  <c:v>703901322.62921166</c:v>
                </c:pt>
                <c:pt idx="6">
                  <c:v>658827238.76561236</c:v>
                </c:pt>
                <c:pt idx="7">
                  <c:v>607036849.46471798</c:v>
                </c:pt>
                <c:pt idx="8">
                  <c:v>548258447.73886871</c:v>
                </c:pt>
                <c:pt idx="9">
                  <c:v>482209850.43319929</c:v>
                </c:pt>
                <c:pt idx="10">
                  <c:v>408598011.45548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01A-48FA-9CB6-71336E2B0779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Prisoner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8:$L$8</c:f>
              <c:numCache>
                <c:formatCode>_("$"* #,##0_);_("$"* \(#,##0\);_("$"* "-"??_);_(@_)</c:formatCode>
                <c:ptCount val="11"/>
                <c:pt idx="0">
                  <c:v>60357704.662519656</c:v>
                </c:pt>
                <c:pt idx="1">
                  <c:v>64169132.322054185</c:v>
                </c:pt>
                <c:pt idx="2">
                  <c:v>68075128.104451105</c:v>
                </c:pt>
                <c:pt idx="3">
                  <c:v>72078838.473291367</c:v>
                </c:pt>
                <c:pt idx="4">
                  <c:v>76183524.66315037</c:v>
                </c:pt>
                <c:pt idx="5">
                  <c:v>80392567.033017039</c:v>
                </c:pt>
                <c:pt idx="6">
                  <c:v>84605650.035414085</c:v>
                </c:pt>
                <c:pt idx="7">
                  <c:v>88919148.482491091</c:v>
                </c:pt>
                <c:pt idx="8">
                  <c:v>93336365.534177184</c:v>
                </c:pt>
                <c:pt idx="9">
                  <c:v>97860720.652617797</c:v>
                </c:pt>
                <c:pt idx="10">
                  <c:v>102495753.792232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01A-48FA-9CB6-71336E2B0779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MassMedia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9:$L$9</c:f>
              <c:numCache>
                <c:formatCode>_("$"* #,##0_);_("$"* \(#,##0\);_("$"* "-"??_);_(@_)</c:formatCode>
                <c:ptCount val="11"/>
                <c:pt idx="0">
                  <c:v>25565806.399999999</c:v>
                </c:pt>
                <c:pt idx="1">
                  <c:v>25565806.399999999</c:v>
                </c:pt>
                <c:pt idx="2">
                  <c:v>25565806.399999999</c:v>
                </c:pt>
                <c:pt idx="3">
                  <c:v>25565806.399999999</c:v>
                </c:pt>
                <c:pt idx="4">
                  <c:v>25565806.399999999</c:v>
                </c:pt>
                <c:pt idx="5">
                  <c:v>25565806.399999999</c:v>
                </c:pt>
                <c:pt idx="6">
                  <c:v>25565806.399999999</c:v>
                </c:pt>
                <c:pt idx="7">
                  <c:v>25565806.399999999</c:v>
                </c:pt>
                <c:pt idx="8">
                  <c:v>25565806.399999999</c:v>
                </c:pt>
                <c:pt idx="9">
                  <c:v>25565806.399999999</c:v>
                </c:pt>
                <c:pt idx="10">
                  <c:v>25565806.3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01A-48FA-9CB6-71336E2B0779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CashTransfer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0:$L$10</c:f>
              <c:numCache>
                <c:formatCode>_("$"* #,##0_);_("$"* \(#,##0\);_("$"* "-"??_);_(@_)</c:formatCode>
                <c:ptCount val="11"/>
                <c:pt idx="0">
                  <c:v>559993032</c:v>
                </c:pt>
                <c:pt idx="1">
                  <c:v>645399123.24065483</c:v>
                </c:pt>
                <c:pt idx="2">
                  <c:v>736736386.00752115</c:v>
                </c:pt>
                <c:pt idx="3">
                  <c:v>832547205.68465483</c:v>
                </c:pt>
                <c:pt idx="4">
                  <c:v>930561535.08834386</c:v>
                </c:pt>
                <c:pt idx="5">
                  <c:v>1027441896.0000005</c:v>
                </c:pt>
                <c:pt idx="6">
                  <c:v>882247612.86026216</c:v>
                </c:pt>
                <c:pt idx="7">
                  <c:v>747298723.55101883</c:v>
                </c:pt>
                <c:pt idx="8">
                  <c:v>621972801.00896072</c:v>
                </c:pt>
                <c:pt idx="9">
                  <c:v>505504787.3614369</c:v>
                </c:pt>
                <c:pt idx="10">
                  <c:v>397030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01A-48FA-9CB6-71336E2B0779}"/>
            </c:ext>
          </c:extLst>
        </c:ser>
        <c:ser>
          <c:idx val="9"/>
          <c:order val="9"/>
          <c:tx>
            <c:strRef>
              <c:f>Sheet1!$A$11</c:f>
              <c:strCache>
                <c:ptCount val="1"/>
                <c:pt idx="0">
                  <c:v>PMTCT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1:$L$11</c:f>
              <c:numCache>
                <c:formatCode>_("$"* #,##0_);_("$"* \(#,##0\);_("$"* "-"??_);_(@_)</c:formatCode>
                <c:ptCount val="11"/>
                <c:pt idx="0">
                  <c:v>478501710.23780346</c:v>
                </c:pt>
                <c:pt idx="1">
                  <c:v>407000343.15679729</c:v>
                </c:pt>
                <c:pt idx="2">
                  <c:v>339422240.2151565</c:v>
                </c:pt>
                <c:pt idx="3">
                  <c:v>278694105.10300356</c:v>
                </c:pt>
                <c:pt idx="4">
                  <c:v>224686572.52250189</c:v>
                </c:pt>
                <c:pt idx="5">
                  <c:v>177106601.8930428</c:v>
                </c:pt>
                <c:pt idx="6">
                  <c:v>135556549.66172916</c:v>
                </c:pt>
                <c:pt idx="7">
                  <c:v>99553404.652003393</c:v>
                </c:pt>
                <c:pt idx="8">
                  <c:v>68679181.829837129</c:v>
                </c:pt>
                <c:pt idx="9">
                  <c:v>42454402.513120048</c:v>
                </c:pt>
                <c:pt idx="10">
                  <c:v>20409897.901208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01A-48FA-9CB6-71336E2B0779}"/>
            </c:ext>
          </c:extLst>
        </c:ser>
        <c:ser>
          <c:idx val="10"/>
          <c:order val="10"/>
          <c:tx>
            <c:strRef>
              <c:f>Sheet1!$A$12</c:f>
              <c:strCache>
                <c:ptCount val="1"/>
                <c:pt idx="0">
                  <c:v>VMMC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2:$L$12</c:f>
              <c:numCache>
                <c:formatCode>_("$"* #,##0_);_("$"* \(#,##0\);_("$"* "-"??_);_(@_)</c:formatCode>
                <c:ptCount val="11"/>
                <c:pt idx="0">
                  <c:v>484503384.62996501</c:v>
                </c:pt>
                <c:pt idx="1">
                  <c:v>131558165.42824942</c:v>
                </c:pt>
                <c:pt idx="2">
                  <c:v>133911863.9404283</c:v>
                </c:pt>
                <c:pt idx="3">
                  <c:v>136320024.97914988</c:v>
                </c:pt>
                <c:pt idx="4">
                  <c:v>138783891.44888359</c:v>
                </c:pt>
                <c:pt idx="5">
                  <c:v>141304735.35765705</c:v>
                </c:pt>
                <c:pt idx="6">
                  <c:v>143505203.83644742</c:v>
                </c:pt>
                <c:pt idx="7">
                  <c:v>145753518.04725245</c:v>
                </c:pt>
                <c:pt idx="8">
                  <c:v>148050713.99012685</c:v>
                </c:pt>
                <c:pt idx="9">
                  <c:v>150397850.65728793</c:v>
                </c:pt>
                <c:pt idx="10">
                  <c:v>152796010.54791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01A-48FA-9CB6-71336E2B0779}"/>
            </c:ext>
          </c:extLst>
        </c:ser>
        <c:ser>
          <c:idx val="11"/>
          <c:order val="11"/>
          <c:tx>
            <c:strRef>
              <c:f>Sheet1!$A$13</c:f>
              <c:strCache>
                <c:ptCount val="1"/>
                <c:pt idx="0">
                  <c:v>PEP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3:$L$13</c:f>
              <c:numCache>
                <c:formatCode>_("$"* #,##0_);_("$"* \(#,##0\);_("$"* "-"??_);_(@_)</c:formatCode>
                <c:ptCount val="11"/>
                <c:pt idx="0">
                  <c:v>721291.14967681631</c:v>
                </c:pt>
                <c:pt idx="1">
                  <c:v>724994.7619300856</c:v>
                </c:pt>
                <c:pt idx="2">
                  <c:v>728767.14991441753</c:v>
                </c:pt>
                <c:pt idx="3">
                  <c:v>732609.91262238077</c:v>
                </c:pt>
                <c:pt idx="4">
                  <c:v>736524.69300012931</c:v>
                </c:pt>
                <c:pt idx="5">
                  <c:v>740513.1792947998</c:v>
                </c:pt>
                <c:pt idx="6">
                  <c:v>744179.15263991407</c:v>
                </c:pt>
                <c:pt idx="7">
                  <c:v>747911.93430606567</c:v>
                </c:pt>
                <c:pt idx="8">
                  <c:v>751713.02836434799</c:v>
                </c:pt>
                <c:pt idx="9">
                  <c:v>755583.97791400773</c:v>
                </c:pt>
                <c:pt idx="10">
                  <c:v>759526.366185775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01A-48FA-9CB6-71336E2B0779}"/>
            </c:ext>
          </c:extLst>
        </c:ser>
        <c:ser>
          <c:idx val="12"/>
          <c:order val="12"/>
          <c:tx>
            <c:strRef>
              <c:f>Sheet1!$A$14</c:f>
              <c:strCache>
                <c:ptCount val="1"/>
                <c:pt idx="0">
                  <c:v>PrEP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4:$L$14</c:f>
              <c:numCache>
                <c:formatCode>_("$"* #,##0_);_("$"* \(#,##0\);_("$"* "-"??_);_(@_)</c:formatCode>
                <c:ptCount val="11"/>
                <c:pt idx="0">
                  <c:v>781165127.11842763</c:v>
                </c:pt>
                <c:pt idx="1">
                  <c:v>901192424.99927151</c:v>
                </c:pt>
                <c:pt idx="2">
                  <c:v>1007823414.1696781</c:v>
                </c:pt>
                <c:pt idx="3">
                  <c:v>1100429078.0423024</c:v>
                </c:pt>
                <c:pt idx="4">
                  <c:v>1178347650.6306453</c:v>
                </c:pt>
                <c:pt idx="5">
                  <c:v>1240882956.4413786</c:v>
                </c:pt>
                <c:pt idx="6">
                  <c:v>1285946516.9612849</c:v>
                </c:pt>
                <c:pt idx="7">
                  <c:v>1314055012.413065</c:v>
                </c:pt>
                <c:pt idx="8">
                  <c:v>1324453957.3850963</c:v>
                </c:pt>
                <c:pt idx="9">
                  <c:v>1316351117.3183537</c:v>
                </c:pt>
                <c:pt idx="10">
                  <c:v>1288914668.5709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01A-48FA-9CB6-71336E2B0779}"/>
            </c:ext>
          </c:extLst>
        </c:ser>
        <c:ser>
          <c:idx val="13"/>
          <c:order val="13"/>
          <c:tx>
            <c:strRef>
              <c:f>Sheet1!$A$15</c:f>
              <c:strCache>
                <c:ptCount val="1"/>
                <c:pt idx="0">
                  <c:v>Testing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5:$L$15</c:f>
              <c:numCache>
                <c:formatCode>_("$"* #,##0_);_("$"* \(#,##0\);_("$"* "-"??_);_(@_)</c:formatCode>
                <c:ptCount val="11"/>
                <c:pt idx="0">
                  <c:v>1920239975.2608917</c:v>
                </c:pt>
                <c:pt idx="1">
                  <c:v>1921012202.202589</c:v>
                </c:pt>
                <c:pt idx="2">
                  <c:v>1833456749.3616519</c:v>
                </c:pt>
                <c:pt idx="3">
                  <c:v>1762186217.2594738</c:v>
                </c:pt>
                <c:pt idx="4">
                  <c:v>1704164823.8025875</c:v>
                </c:pt>
                <c:pt idx="5">
                  <c:v>1656946505.3928559</c:v>
                </c:pt>
                <c:pt idx="6">
                  <c:v>1618557118.3063333</c:v>
                </c:pt>
                <c:pt idx="7">
                  <c:v>1587400769.7500594</c:v>
                </c:pt>
                <c:pt idx="8">
                  <c:v>1562185239.999727</c:v>
                </c:pt>
                <c:pt idx="9">
                  <c:v>1541862525.3803041</c:v>
                </c:pt>
                <c:pt idx="10">
                  <c:v>1525581371.0031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01A-48FA-9CB6-71336E2B0779}"/>
            </c:ext>
          </c:extLst>
        </c:ser>
        <c:ser>
          <c:idx val="14"/>
          <c:order val="14"/>
          <c:tx>
            <c:strRef>
              <c:f>Sheet1!$A$16</c:f>
              <c:strCache>
                <c:ptCount val="1"/>
                <c:pt idx="0">
                  <c:v>PreART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6:$L$16</c:f>
              <c:numCache>
                <c:formatCode>_("$"* #,##0_);_("$"* \(#,##0\);_("$"* "-"??_);_(@_)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01A-48FA-9CB6-71336E2B0779}"/>
            </c:ext>
          </c:extLst>
        </c:ser>
        <c:ser>
          <c:idx val="15"/>
          <c:order val="15"/>
          <c:tx>
            <c:strRef>
              <c:f>Sheet1!$A$17</c:f>
              <c:strCache>
                <c:ptCount val="1"/>
                <c:pt idx="0">
                  <c:v>ART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7:$L$17</c:f>
              <c:numCache>
                <c:formatCode>_("$"* #,##0_);_("$"* \(#,##0\);_("$"* "-"??_);_(@_)</c:formatCode>
                <c:ptCount val="11"/>
                <c:pt idx="0">
                  <c:v>9034703144.7795925</c:v>
                </c:pt>
                <c:pt idx="1">
                  <c:v>8526692242.1825495</c:v>
                </c:pt>
                <c:pt idx="2">
                  <c:v>8435290300.7619991</c:v>
                </c:pt>
                <c:pt idx="3">
                  <c:v>8337217572.0183372</c:v>
                </c:pt>
                <c:pt idx="4">
                  <c:v>8232265754.1315889</c:v>
                </c:pt>
                <c:pt idx="5">
                  <c:v>8124180244.9411869</c:v>
                </c:pt>
                <c:pt idx="6">
                  <c:v>8012119424.0095921</c:v>
                </c:pt>
                <c:pt idx="7">
                  <c:v>7896558071.7680302</c:v>
                </c:pt>
                <c:pt idx="8">
                  <c:v>7780696252.8259535</c:v>
                </c:pt>
                <c:pt idx="9">
                  <c:v>7666780737.1146393</c:v>
                </c:pt>
                <c:pt idx="10">
                  <c:v>7580397265.88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01A-48FA-9CB6-71336E2B0779}"/>
            </c:ext>
          </c:extLst>
        </c:ser>
        <c:ser>
          <c:idx val="16"/>
          <c:order val="16"/>
          <c:tx>
            <c:strRef>
              <c:f>Sheet1!$A$18</c:f>
              <c:strCache>
                <c:ptCount val="1"/>
                <c:pt idx="0">
                  <c:v>Program Enablers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8:$L$18</c:f>
              <c:numCache>
                <c:formatCode>_("$"* #,##0_);_("$"* \(#,##0\);_("$"* "-"??_);_(@_)</c:formatCode>
                <c:ptCount val="11"/>
                <c:pt idx="0">
                  <c:v>2641256549.1447825</c:v>
                </c:pt>
                <c:pt idx="1">
                  <c:v>2552191233.4151316</c:v>
                </c:pt>
                <c:pt idx="2">
                  <c:v>2554866725.3841915</c:v>
                </c:pt>
                <c:pt idx="3">
                  <c:v>2558042777.1808333</c:v>
                </c:pt>
                <c:pt idx="4">
                  <c:v>2560811893.6381726</c:v>
                </c:pt>
                <c:pt idx="5">
                  <c:v>2562724374.1063113</c:v>
                </c:pt>
                <c:pt idx="6">
                  <c:v>2528353755.0908637</c:v>
                </c:pt>
                <c:pt idx="7">
                  <c:v>2493742952.5715327</c:v>
                </c:pt>
                <c:pt idx="8">
                  <c:v>2458879512.9950514</c:v>
                </c:pt>
                <c:pt idx="9">
                  <c:v>2423616685.0362372</c:v>
                </c:pt>
                <c:pt idx="10">
                  <c:v>2391083477.2199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01A-48FA-9CB6-71336E2B0779}"/>
            </c:ext>
          </c:extLst>
        </c:ser>
        <c:ser>
          <c:idx val="17"/>
          <c:order val="17"/>
          <c:tx>
            <c:strRef>
              <c:f>Sheet1!$A$19</c:f>
              <c:strCache>
                <c:ptCount val="1"/>
                <c:pt idx="0">
                  <c:v>Social Enablers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19:$L$19</c:f>
              <c:numCache>
                <c:formatCode>_("$"* #,##0_);_("$"* \(#,##0\);_("$"* "-"??_);_(@_)</c:formatCode>
                <c:ptCount val="11"/>
                <c:pt idx="0">
                  <c:v>1509289456.6541619</c:v>
                </c:pt>
                <c:pt idx="1">
                  <c:v>1460470885.8488388</c:v>
                </c:pt>
                <c:pt idx="2">
                  <c:v>1462049871.4284382</c:v>
                </c:pt>
                <c:pt idx="3">
                  <c:v>1463910534.6389644</c:v>
                </c:pt>
                <c:pt idx="4">
                  <c:v>1465533884.2390645</c:v>
                </c:pt>
                <c:pt idx="5">
                  <c:v>1466662514.9020324</c:v>
                </c:pt>
                <c:pt idx="6">
                  <c:v>1447041021.844851</c:v>
                </c:pt>
                <c:pt idx="7">
                  <c:v>1427275926.3831213</c:v>
                </c:pt>
                <c:pt idx="8">
                  <c:v>1407359651.5994999</c:v>
                </c:pt>
                <c:pt idx="9">
                  <c:v>1387207857.0814247</c:v>
                </c:pt>
                <c:pt idx="10">
                  <c:v>1368607941.58110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401A-48FA-9CB6-71336E2B0779}"/>
            </c:ext>
          </c:extLst>
        </c:ser>
        <c:ser>
          <c:idx val="18"/>
          <c:order val="18"/>
          <c:tx>
            <c:strRef>
              <c:f>Sheet1!$A$20</c:f>
              <c:strCache>
                <c:ptCount val="1"/>
                <c:pt idx="0">
                  <c:v>Com Mob</c:v>
                </c:pt>
              </c:strCache>
            </c:strRef>
          </c:tx>
          <c:spPr>
            <a:solidFill>
              <a:schemeClr val="accent1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0:$L$20</c:f>
              <c:numCache>
                <c:formatCode>_("$"* #,##0_);_("$"* \(#,##0\);_("$"* "-"??_);_(@_)</c:formatCode>
                <c:ptCount val="11"/>
                <c:pt idx="0">
                  <c:v>877496773.66197836</c:v>
                </c:pt>
                <c:pt idx="1">
                  <c:v>901782354.50975406</c:v>
                </c:pt>
                <c:pt idx="2">
                  <c:v>926817421.68528354</c:v>
                </c:pt>
                <c:pt idx="3">
                  <c:v>952626237.02434003</c:v>
                </c:pt>
                <c:pt idx="4">
                  <c:v>979233868.53423607</c:v>
                </c:pt>
                <c:pt idx="5">
                  <c:v>1006666217.6124771</c:v>
                </c:pt>
                <c:pt idx="6">
                  <c:v>1033819066.8204738</c:v>
                </c:pt>
                <c:pt idx="7">
                  <c:v>1061793537.366349</c:v>
                </c:pt>
                <c:pt idx="8">
                  <c:v>1090615583.1120884</c:v>
                </c:pt>
                <c:pt idx="9">
                  <c:v>1120311995.9478106</c:v>
                </c:pt>
                <c:pt idx="10">
                  <c:v>1150910433.2099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401A-48FA-9CB6-71336E2B0779}"/>
            </c:ext>
          </c:extLst>
        </c:ser>
        <c:ser>
          <c:idx val="19"/>
          <c:order val="19"/>
          <c:tx>
            <c:strRef>
              <c:f>Sheet1!$A$21</c:f>
              <c:strCache>
                <c:ptCount val="1"/>
                <c:pt idx="0">
                  <c:v>OVC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1:$L$21</c:f>
              <c:numCache>
                <c:formatCode>_("$"* #,##0_);_("$"* \(#,##0\);_("$"* "-"??_);_(@_)</c:formatCode>
                <c:ptCount val="11"/>
                <c:pt idx="0">
                  <c:v>135882787.67052016</c:v>
                </c:pt>
                <c:pt idx="1">
                  <c:v>127535245.97966315</c:v>
                </c:pt>
                <c:pt idx="2">
                  <c:v>119783922.94823308</c:v>
                </c:pt>
                <c:pt idx="3">
                  <c:v>112582304.17871837</c:v>
                </c:pt>
                <c:pt idx="4">
                  <c:v>105887697.1817811</c:v>
                </c:pt>
                <c:pt idx="5">
                  <c:v>99660907.764850616</c:v>
                </c:pt>
                <c:pt idx="6">
                  <c:v>93865944.373228237</c:v>
                </c:pt>
                <c:pt idx="7">
                  <c:v>88469747.932361275</c:v>
                </c:pt>
                <c:pt idx="8">
                  <c:v>83441944.957757682</c:v>
                </c:pt>
                <c:pt idx="9">
                  <c:v>78754621.897232831</c:v>
                </c:pt>
                <c:pt idx="10">
                  <c:v>74382118.8505916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401A-48FA-9CB6-71336E2B0779}"/>
            </c:ext>
          </c:extLst>
        </c:ser>
        <c:ser>
          <c:idx val="20"/>
          <c:order val="20"/>
          <c:tx>
            <c:strRef>
              <c:f>Sheet1!$A$22</c:f>
              <c:strCache>
                <c:ptCount val="1"/>
                <c:pt idx="0">
                  <c:v>Education</c:v>
                </c:pt>
              </c:strCache>
            </c:strRef>
          </c:tx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2:$L$22</c:f>
              <c:numCache>
                <c:formatCode>_("$"* #,##0_);_("$"* \(#,##0\);_("$"* "-"??_);_(@_)</c:formatCode>
                <c:ptCount val="11"/>
                <c:pt idx="0">
                  <c:v>573511747.68640661</c:v>
                </c:pt>
                <c:pt idx="1">
                  <c:v>621501548.18105185</c:v>
                </c:pt>
                <c:pt idx="2">
                  <c:v>676447089.16270542</c:v>
                </c:pt>
                <c:pt idx="3">
                  <c:v>739422363.90713871</c:v>
                </c:pt>
                <c:pt idx="4">
                  <c:v>811670321.66163373</c:v>
                </c:pt>
                <c:pt idx="5">
                  <c:v>894629602.7990042</c:v>
                </c:pt>
                <c:pt idx="6">
                  <c:v>881148869.13095856</c:v>
                </c:pt>
                <c:pt idx="7">
                  <c:v>870184315.44553578</c:v>
                </c:pt>
                <c:pt idx="8">
                  <c:v>861507072.69384778</c:v>
                </c:pt>
                <c:pt idx="9">
                  <c:v>854914019.82436311</c:v>
                </c:pt>
                <c:pt idx="10">
                  <c:v>850224942.41157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401A-48FA-9CB6-71336E2B0779}"/>
            </c:ext>
          </c:extLst>
        </c:ser>
        <c:ser>
          <c:idx val="21"/>
          <c:order val="21"/>
          <c:tx>
            <c:strRef>
              <c:f>Sheet1!$A$23</c:f>
              <c:strCache>
                <c:ptCount val="1"/>
                <c:pt idx="0">
                  <c:v>HSS</c:v>
                </c:pt>
              </c:strCache>
            </c:strRef>
          </c:tx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:$L$1</c:f>
              <c:strCache>
                <c:ptCount val="1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</c:strCache>
            </c:strRef>
          </c:cat>
          <c:val>
            <c:numRef>
              <c:f>Sheet1!$B$23:$L$23</c:f>
              <c:numCache>
                <c:formatCode>_("$"* #,##0_);_("$"* \(#,##0\);_("$"* "-"??_);_(@_)</c:formatCode>
                <c:ptCount val="11"/>
                <c:pt idx="0">
                  <c:v>1830013466.1931705</c:v>
                </c:pt>
                <c:pt idx="1">
                  <c:v>1701929923.8842149</c:v>
                </c:pt>
                <c:pt idx="2">
                  <c:v>1637270494.1927869</c:v>
                </c:pt>
                <c:pt idx="3">
                  <c:v>1572779665.9784868</c:v>
                </c:pt>
                <c:pt idx="4">
                  <c:v>1507884024.7651856</c:v>
                </c:pt>
                <c:pt idx="5">
                  <c:v>1442362217.4361377</c:v>
                </c:pt>
                <c:pt idx="6">
                  <c:v>1357263547.1187534</c:v>
                </c:pt>
                <c:pt idx="7">
                  <c:v>1273829919.4413533</c:v>
                </c:pt>
                <c:pt idx="8">
                  <c:v>1192074035.9958074</c:v>
                </c:pt>
                <c:pt idx="9">
                  <c:v>1111948278.4491909</c:v>
                </c:pt>
                <c:pt idx="10">
                  <c:v>1034838011.9904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401A-48FA-9CB6-71336E2B07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40822784"/>
        <c:axId val="540824096"/>
      </c:barChart>
      <c:catAx>
        <c:axId val="54082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0824096"/>
        <c:crosses val="autoZero"/>
        <c:auto val="1"/>
        <c:lblAlgn val="ctr"/>
        <c:lblOffset val="100"/>
        <c:noMultiLvlLbl val="0"/>
      </c:catAx>
      <c:valAx>
        <c:axId val="540824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_);_(&quot;$&quot;* \(#,##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0822784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6863231475514369"/>
          <c:y val="5.4049100016068982E-2"/>
          <c:w val="0.12428869889996082"/>
          <c:h val="0.925230799791022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New Infections</c:v>
                </c:pt>
              </c:strCache>
            </c:strRef>
          </c:tx>
          <c:spPr>
            <a:ln w="635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B$1:$V$1</c:f>
              <c:strCach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strCache>
            </c:strRef>
          </c:cat>
          <c:val>
            <c:numRef>
              <c:f>Sheet1!$B$2:$V$2</c:f>
              <c:numCache>
                <c:formatCode>#,##0</c:formatCode>
                <c:ptCount val="21"/>
                <c:pt idx="0">
                  <c:v>2208289.35005</c:v>
                </c:pt>
                <c:pt idx="1">
                  <c:v>2166288.3711700002</c:v>
                </c:pt>
                <c:pt idx="2">
                  <c:v>2101222.33745</c:v>
                </c:pt>
                <c:pt idx="3">
                  <c:v>2044496.29963</c:v>
                </c:pt>
                <c:pt idx="4">
                  <c:v>1987943.30464</c:v>
                </c:pt>
                <c:pt idx="5">
                  <c:v>1905348.13781</c:v>
                </c:pt>
                <c:pt idx="6">
                  <c:v>1575571.0605925166</c:v>
                </c:pt>
                <c:pt idx="7">
                  <c:v>1206659.9901609155</c:v>
                </c:pt>
                <c:pt idx="8">
                  <c:v>917294.68732495885</c:v>
                </c:pt>
                <c:pt idx="9">
                  <c:v>716808.34916905768</c:v>
                </c:pt>
                <c:pt idx="10">
                  <c:v>526283.08184513776</c:v>
                </c:pt>
                <c:pt idx="11">
                  <c:v>481312.81362689985</c:v>
                </c:pt>
                <c:pt idx="12">
                  <c:v>467010.45949106733</c:v>
                </c:pt>
                <c:pt idx="13">
                  <c:v>451180.45311393356</c:v>
                </c:pt>
                <c:pt idx="14">
                  <c:v>433087.01864158903</c:v>
                </c:pt>
                <c:pt idx="15">
                  <c:v>412349.05306982959</c:v>
                </c:pt>
                <c:pt idx="16">
                  <c:v>389466.25621624268</c:v>
                </c:pt>
                <c:pt idx="17">
                  <c:v>364816.60607164155</c:v>
                </c:pt>
                <c:pt idx="18">
                  <c:v>338801.79852089251</c:v>
                </c:pt>
                <c:pt idx="19">
                  <c:v>312172.68330798042</c:v>
                </c:pt>
                <c:pt idx="20">
                  <c:v>284962.347328166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FC-4B62-84B4-15907DBBDF0D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IDS Deaths</c:v>
                </c:pt>
              </c:strCache>
            </c:strRef>
          </c:tx>
          <c:spPr>
            <a:ln w="635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1:$V$1</c:f>
              <c:strCach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strCache>
            </c:strRef>
          </c:cat>
          <c:val>
            <c:numRef>
              <c:f>Sheet1!$B$3:$V$3</c:f>
              <c:numCache>
                <c:formatCode>#,##0</c:formatCode>
                <c:ptCount val="21"/>
                <c:pt idx="0">
                  <c:v>1580546.6547400001</c:v>
                </c:pt>
                <c:pt idx="1">
                  <c:v>1509085.5504100001</c:v>
                </c:pt>
                <c:pt idx="2">
                  <c:v>1389586.41075</c:v>
                </c:pt>
                <c:pt idx="3">
                  <c:v>1258889.3961200002</c:v>
                </c:pt>
                <c:pt idx="4">
                  <c:v>1169774.52896</c:v>
                </c:pt>
                <c:pt idx="5">
                  <c:v>1021474.2601900001</c:v>
                </c:pt>
                <c:pt idx="6">
                  <c:v>925560.54431394686</c:v>
                </c:pt>
                <c:pt idx="7">
                  <c:v>769478.25655697077</c:v>
                </c:pt>
                <c:pt idx="8">
                  <c:v>634320.40718332119</c:v>
                </c:pt>
                <c:pt idx="9">
                  <c:v>579957.61450113542</c:v>
                </c:pt>
                <c:pt idx="10">
                  <c:v>529010.01523185964</c:v>
                </c:pt>
                <c:pt idx="11">
                  <c:v>509600.7755481808</c:v>
                </c:pt>
                <c:pt idx="12">
                  <c:v>511490.22141109681</c:v>
                </c:pt>
                <c:pt idx="13">
                  <c:v>508203.88638322515</c:v>
                </c:pt>
                <c:pt idx="14">
                  <c:v>497620.90482958534</c:v>
                </c:pt>
                <c:pt idx="15">
                  <c:v>480770.23653727956</c:v>
                </c:pt>
                <c:pt idx="16">
                  <c:v>458571.70563470921</c:v>
                </c:pt>
                <c:pt idx="17">
                  <c:v>432521.04659531894</c:v>
                </c:pt>
                <c:pt idx="18">
                  <c:v>403632.31196673715</c:v>
                </c:pt>
                <c:pt idx="19">
                  <c:v>372988.7312142466</c:v>
                </c:pt>
                <c:pt idx="20">
                  <c:v>341483.89673394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FC-4B62-84B4-15907DBBDF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0827376"/>
        <c:axId val="540829016"/>
      </c:lineChart>
      <c:catAx>
        <c:axId val="540827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0829016"/>
        <c:crosses val="autoZero"/>
        <c:auto val="1"/>
        <c:lblAlgn val="ctr"/>
        <c:lblOffset val="100"/>
        <c:tickLblSkip val="5"/>
        <c:noMultiLvlLbl val="0"/>
      </c:catAx>
      <c:valAx>
        <c:axId val="540829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0827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869B316-1410-4D03-8344-CD1773FE7BA5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BF2A4744-2756-4203-9745-8F7538CE0453}">
      <dgm:prSet phldrT="[Text]"/>
      <dgm:spPr/>
      <dgm:t>
        <a:bodyPr/>
        <a:lstStyle/>
        <a:p>
          <a:r>
            <a:rPr lang="en-US" dirty="0"/>
            <a:t>Susceptible</a:t>
          </a:r>
        </a:p>
      </dgm:t>
    </dgm:pt>
    <dgm:pt modelId="{993DBBE6-E024-4C80-892C-60C09062C07A}" type="parTrans" cxnId="{FAB67E66-6E8F-4D8E-BD3B-5766D7A050B6}">
      <dgm:prSet/>
      <dgm:spPr/>
      <dgm:t>
        <a:bodyPr/>
        <a:lstStyle/>
        <a:p>
          <a:endParaRPr lang="en-US"/>
        </a:p>
      </dgm:t>
    </dgm:pt>
    <dgm:pt modelId="{FDCED088-056C-45BD-9121-1E45A5C33DC6}" type="sibTrans" cxnId="{FAB67E66-6E8F-4D8E-BD3B-5766D7A050B6}">
      <dgm:prSet/>
      <dgm:spPr/>
      <dgm:t>
        <a:bodyPr/>
        <a:lstStyle/>
        <a:p>
          <a:endParaRPr lang="en-US"/>
        </a:p>
      </dgm:t>
    </dgm:pt>
    <dgm:pt modelId="{DB24FDB4-743A-4C5C-ABE1-8083FE106043}">
      <dgm:prSet phldrT="[Text]"/>
      <dgm:spPr/>
      <dgm:t>
        <a:bodyPr/>
        <a:lstStyle/>
        <a:p>
          <a:r>
            <a:rPr lang="en-US" dirty="0"/>
            <a:t>HIV+</a:t>
          </a:r>
        </a:p>
      </dgm:t>
    </dgm:pt>
    <dgm:pt modelId="{98921CE0-0B5B-4BA4-8456-85BA04FDE002}" type="parTrans" cxnId="{8C63418D-50D5-42A2-A369-827A3B657D93}">
      <dgm:prSet/>
      <dgm:spPr/>
      <dgm:t>
        <a:bodyPr/>
        <a:lstStyle/>
        <a:p>
          <a:endParaRPr lang="en-US"/>
        </a:p>
      </dgm:t>
    </dgm:pt>
    <dgm:pt modelId="{9530DA38-1B1D-412A-A8EE-75E7B2FCA24B}" type="sibTrans" cxnId="{8C63418D-50D5-42A2-A369-827A3B657D93}">
      <dgm:prSet/>
      <dgm:spPr/>
      <dgm:t>
        <a:bodyPr/>
        <a:lstStyle/>
        <a:p>
          <a:endParaRPr lang="en-US"/>
        </a:p>
      </dgm:t>
    </dgm:pt>
    <dgm:pt modelId="{C3CB8202-D1DC-4534-B51A-BF778A00C6B0}">
      <dgm:prSet phldrT="[Text]"/>
      <dgm:spPr/>
      <dgm:t>
        <a:bodyPr/>
        <a:lstStyle/>
        <a:p>
          <a:r>
            <a:rPr lang="en-US" dirty="0"/>
            <a:t>Know Status</a:t>
          </a:r>
        </a:p>
      </dgm:t>
    </dgm:pt>
    <dgm:pt modelId="{53006196-7507-47B7-AB4D-5C0E76BDA4FC}" type="parTrans" cxnId="{95959E4A-C8D6-480E-8B4D-DA3DDA22FF13}">
      <dgm:prSet/>
      <dgm:spPr/>
      <dgm:t>
        <a:bodyPr/>
        <a:lstStyle/>
        <a:p>
          <a:endParaRPr lang="en-US"/>
        </a:p>
      </dgm:t>
    </dgm:pt>
    <dgm:pt modelId="{CD916DF5-C12B-49C1-956C-49D682F3506F}" type="sibTrans" cxnId="{95959E4A-C8D6-480E-8B4D-DA3DDA22FF13}">
      <dgm:prSet/>
      <dgm:spPr/>
      <dgm:t>
        <a:bodyPr/>
        <a:lstStyle/>
        <a:p>
          <a:endParaRPr lang="en-US"/>
        </a:p>
      </dgm:t>
    </dgm:pt>
    <dgm:pt modelId="{72DE55AA-D245-42B4-8C3C-58D71132EA65}">
      <dgm:prSet/>
      <dgm:spPr/>
      <dgm:t>
        <a:bodyPr/>
        <a:lstStyle/>
        <a:p>
          <a:r>
            <a:rPr lang="en-US" dirty="0"/>
            <a:t>On ART</a:t>
          </a:r>
        </a:p>
      </dgm:t>
    </dgm:pt>
    <dgm:pt modelId="{99585714-F335-47F8-B6EE-050136A2C64D}" type="parTrans" cxnId="{4AC7102F-41B7-4DBD-99C8-364FCE3EA540}">
      <dgm:prSet/>
      <dgm:spPr/>
      <dgm:t>
        <a:bodyPr/>
        <a:lstStyle/>
        <a:p>
          <a:endParaRPr lang="en-US"/>
        </a:p>
      </dgm:t>
    </dgm:pt>
    <dgm:pt modelId="{C43399AB-816D-492E-AE1E-260EA2FB9AB6}" type="sibTrans" cxnId="{4AC7102F-41B7-4DBD-99C8-364FCE3EA540}">
      <dgm:prSet/>
      <dgm:spPr/>
      <dgm:t>
        <a:bodyPr/>
        <a:lstStyle/>
        <a:p>
          <a:endParaRPr lang="en-US"/>
        </a:p>
      </dgm:t>
    </dgm:pt>
    <dgm:pt modelId="{25248581-12F0-4E7B-9B59-217DBBB6CB0C}">
      <dgm:prSet/>
      <dgm:spPr/>
      <dgm:t>
        <a:bodyPr/>
        <a:lstStyle/>
        <a:p>
          <a:r>
            <a:rPr lang="en-US" dirty="0"/>
            <a:t>Virally Suppressed</a:t>
          </a:r>
        </a:p>
      </dgm:t>
    </dgm:pt>
    <dgm:pt modelId="{6E9FC816-9A22-468B-AB4F-A57AFC5BB30D}" type="parTrans" cxnId="{B438A02F-DFD1-48C8-ABDD-3D4E5F724A30}">
      <dgm:prSet/>
      <dgm:spPr/>
      <dgm:t>
        <a:bodyPr/>
        <a:lstStyle/>
        <a:p>
          <a:endParaRPr lang="en-US"/>
        </a:p>
      </dgm:t>
    </dgm:pt>
    <dgm:pt modelId="{499C1A2B-F97D-4642-A0C0-0354683DFC8F}" type="sibTrans" cxnId="{B438A02F-DFD1-48C8-ABDD-3D4E5F724A30}">
      <dgm:prSet/>
      <dgm:spPr/>
      <dgm:t>
        <a:bodyPr/>
        <a:lstStyle/>
        <a:p>
          <a:endParaRPr lang="en-US"/>
        </a:p>
      </dgm:t>
    </dgm:pt>
    <dgm:pt modelId="{63855114-4E86-4AD9-8C02-63826016CBB4}" type="pres">
      <dgm:prSet presAssocID="{F869B316-1410-4D03-8344-CD1773FE7BA5}" presName="CompostProcess" presStyleCnt="0">
        <dgm:presLayoutVars>
          <dgm:dir/>
          <dgm:resizeHandles val="exact"/>
        </dgm:presLayoutVars>
      </dgm:prSet>
      <dgm:spPr/>
    </dgm:pt>
    <dgm:pt modelId="{317081AA-9CFA-43C3-98AF-D1A48DABD6A0}" type="pres">
      <dgm:prSet presAssocID="{F869B316-1410-4D03-8344-CD1773FE7BA5}" presName="arrow" presStyleLbl="bgShp" presStyleIdx="0" presStyleCnt="1"/>
      <dgm:spPr/>
    </dgm:pt>
    <dgm:pt modelId="{0FF6A150-6582-413E-B726-EF2BF9151ACE}" type="pres">
      <dgm:prSet presAssocID="{F869B316-1410-4D03-8344-CD1773FE7BA5}" presName="linearProcess" presStyleCnt="0"/>
      <dgm:spPr/>
    </dgm:pt>
    <dgm:pt modelId="{59BF06B3-BBDC-4CA8-A622-C896310B8FB6}" type="pres">
      <dgm:prSet presAssocID="{BF2A4744-2756-4203-9745-8F7538CE0453}" presName="textNode" presStyleLbl="node1" presStyleIdx="0" presStyleCnt="5" custScaleX="52456" custLinFactNeighborX="19191">
        <dgm:presLayoutVars>
          <dgm:bulletEnabled val="1"/>
        </dgm:presLayoutVars>
      </dgm:prSet>
      <dgm:spPr/>
    </dgm:pt>
    <dgm:pt modelId="{E90BC060-71A0-4654-A0B0-6AA56F654300}" type="pres">
      <dgm:prSet presAssocID="{FDCED088-056C-45BD-9121-1E45A5C33DC6}" presName="sibTrans" presStyleCnt="0"/>
      <dgm:spPr/>
    </dgm:pt>
    <dgm:pt modelId="{9625591C-AA40-49CD-99DD-91C0F5D0259F}" type="pres">
      <dgm:prSet presAssocID="{DB24FDB4-743A-4C5C-ABE1-8083FE106043}" presName="textNode" presStyleLbl="node1" presStyleIdx="1" presStyleCnt="5" custScaleX="52456" custLinFactNeighborX="19191">
        <dgm:presLayoutVars>
          <dgm:bulletEnabled val="1"/>
        </dgm:presLayoutVars>
      </dgm:prSet>
      <dgm:spPr/>
    </dgm:pt>
    <dgm:pt modelId="{85E1B51E-4C0B-496A-A83E-7A3A9E93F387}" type="pres">
      <dgm:prSet presAssocID="{9530DA38-1B1D-412A-A8EE-75E7B2FCA24B}" presName="sibTrans" presStyleCnt="0"/>
      <dgm:spPr/>
    </dgm:pt>
    <dgm:pt modelId="{FD0CE54C-7324-4DEA-A6A2-48636690107C}" type="pres">
      <dgm:prSet presAssocID="{C3CB8202-D1DC-4534-B51A-BF778A00C6B0}" presName="textNode" presStyleLbl="node1" presStyleIdx="2" presStyleCnt="5" custScaleX="52456">
        <dgm:presLayoutVars>
          <dgm:bulletEnabled val="1"/>
        </dgm:presLayoutVars>
      </dgm:prSet>
      <dgm:spPr/>
    </dgm:pt>
    <dgm:pt modelId="{B319E714-72F6-4798-A068-C3E7DFF95433}" type="pres">
      <dgm:prSet presAssocID="{CD916DF5-C12B-49C1-956C-49D682F3506F}" presName="sibTrans" presStyleCnt="0"/>
      <dgm:spPr/>
    </dgm:pt>
    <dgm:pt modelId="{53DC4D4E-28AF-483F-82D5-91E744221265}" type="pres">
      <dgm:prSet presAssocID="{72DE55AA-D245-42B4-8C3C-58D71132EA65}" presName="textNode" presStyleLbl="node1" presStyleIdx="3" presStyleCnt="5" custScaleX="52456">
        <dgm:presLayoutVars>
          <dgm:bulletEnabled val="1"/>
        </dgm:presLayoutVars>
      </dgm:prSet>
      <dgm:spPr/>
    </dgm:pt>
    <dgm:pt modelId="{DA558024-CDE3-48F3-B063-B32310C70416}" type="pres">
      <dgm:prSet presAssocID="{C43399AB-816D-492E-AE1E-260EA2FB9AB6}" presName="sibTrans" presStyleCnt="0"/>
      <dgm:spPr/>
    </dgm:pt>
    <dgm:pt modelId="{6B295985-5F4E-480D-8DA0-E75BD472FE04}" type="pres">
      <dgm:prSet presAssocID="{25248581-12F0-4E7B-9B59-217DBBB6CB0C}" presName="textNode" presStyleLbl="node1" presStyleIdx="4" presStyleCnt="5" custScaleX="52456">
        <dgm:presLayoutVars>
          <dgm:bulletEnabled val="1"/>
        </dgm:presLayoutVars>
      </dgm:prSet>
      <dgm:spPr/>
    </dgm:pt>
  </dgm:ptLst>
  <dgm:cxnLst>
    <dgm:cxn modelId="{4AC7102F-41B7-4DBD-99C8-364FCE3EA540}" srcId="{F869B316-1410-4D03-8344-CD1773FE7BA5}" destId="{72DE55AA-D245-42B4-8C3C-58D71132EA65}" srcOrd="3" destOrd="0" parTransId="{99585714-F335-47F8-B6EE-050136A2C64D}" sibTransId="{C43399AB-816D-492E-AE1E-260EA2FB9AB6}"/>
    <dgm:cxn modelId="{B438A02F-DFD1-48C8-ABDD-3D4E5F724A30}" srcId="{F869B316-1410-4D03-8344-CD1773FE7BA5}" destId="{25248581-12F0-4E7B-9B59-217DBBB6CB0C}" srcOrd="4" destOrd="0" parTransId="{6E9FC816-9A22-468B-AB4F-A57AFC5BB30D}" sibTransId="{499C1A2B-F97D-4642-A0C0-0354683DFC8F}"/>
    <dgm:cxn modelId="{FAB67E66-6E8F-4D8E-BD3B-5766D7A050B6}" srcId="{F869B316-1410-4D03-8344-CD1773FE7BA5}" destId="{BF2A4744-2756-4203-9745-8F7538CE0453}" srcOrd="0" destOrd="0" parTransId="{993DBBE6-E024-4C80-892C-60C09062C07A}" sibTransId="{FDCED088-056C-45BD-9121-1E45A5C33DC6}"/>
    <dgm:cxn modelId="{95959E4A-C8D6-480E-8B4D-DA3DDA22FF13}" srcId="{F869B316-1410-4D03-8344-CD1773FE7BA5}" destId="{C3CB8202-D1DC-4534-B51A-BF778A00C6B0}" srcOrd="2" destOrd="0" parTransId="{53006196-7507-47B7-AB4D-5C0E76BDA4FC}" sibTransId="{CD916DF5-C12B-49C1-956C-49D682F3506F}"/>
    <dgm:cxn modelId="{FDD5F46C-8EC9-4FE1-AC4F-7602266B966C}" type="presOf" srcId="{DB24FDB4-743A-4C5C-ABE1-8083FE106043}" destId="{9625591C-AA40-49CD-99DD-91C0F5D0259F}" srcOrd="0" destOrd="0" presId="urn:microsoft.com/office/officeart/2005/8/layout/hProcess9"/>
    <dgm:cxn modelId="{899D6789-32B8-432C-940B-63CCC6D1AD7B}" type="presOf" srcId="{72DE55AA-D245-42B4-8C3C-58D71132EA65}" destId="{53DC4D4E-28AF-483F-82D5-91E744221265}" srcOrd="0" destOrd="0" presId="urn:microsoft.com/office/officeart/2005/8/layout/hProcess9"/>
    <dgm:cxn modelId="{8C63418D-50D5-42A2-A369-827A3B657D93}" srcId="{F869B316-1410-4D03-8344-CD1773FE7BA5}" destId="{DB24FDB4-743A-4C5C-ABE1-8083FE106043}" srcOrd="1" destOrd="0" parTransId="{98921CE0-0B5B-4BA4-8456-85BA04FDE002}" sibTransId="{9530DA38-1B1D-412A-A8EE-75E7B2FCA24B}"/>
    <dgm:cxn modelId="{12C8CF94-646A-4DFF-BDE6-C6873073A3B0}" type="presOf" srcId="{F869B316-1410-4D03-8344-CD1773FE7BA5}" destId="{63855114-4E86-4AD9-8C02-63826016CBB4}" srcOrd="0" destOrd="0" presId="urn:microsoft.com/office/officeart/2005/8/layout/hProcess9"/>
    <dgm:cxn modelId="{47A0279B-EA1F-4E34-875F-F992037D9AE6}" type="presOf" srcId="{25248581-12F0-4E7B-9B59-217DBBB6CB0C}" destId="{6B295985-5F4E-480D-8DA0-E75BD472FE04}" srcOrd="0" destOrd="0" presId="urn:microsoft.com/office/officeart/2005/8/layout/hProcess9"/>
    <dgm:cxn modelId="{78855ABF-D726-4752-8971-EBCC3A5E3755}" type="presOf" srcId="{C3CB8202-D1DC-4534-B51A-BF778A00C6B0}" destId="{FD0CE54C-7324-4DEA-A6A2-48636690107C}" srcOrd="0" destOrd="0" presId="urn:microsoft.com/office/officeart/2005/8/layout/hProcess9"/>
    <dgm:cxn modelId="{8FCFF8E1-370D-48AE-A28B-BCBC6FC52C32}" type="presOf" srcId="{BF2A4744-2756-4203-9745-8F7538CE0453}" destId="{59BF06B3-BBDC-4CA8-A622-C896310B8FB6}" srcOrd="0" destOrd="0" presId="urn:microsoft.com/office/officeart/2005/8/layout/hProcess9"/>
    <dgm:cxn modelId="{3F547783-CA2B-4BBC-9A2F-9F3C46D92C2C}" type="presParOf" srcId="{63855114-4E86-4AD9-8C02-63826016CBB4}" destId="{317081AA-9CFA-43C3-98AF-D1A48DABD6A0}" srcOrd="0" destOrd="0" presId="urn:microsoft.com/office/officeart/2005/8/layout/hProcess9"/>
    <dgm:cxn modelId="{11D9F309-AD85-4163-AED8-834930E4A629}" type="presParOf" srcId="{63855114-4E86-4AD9-8C02-63826016CBB4}" destId="{0FF6A150-6582-413E-B726-EF2BF9151ACE}" srcOrd="1" destOrd="0" presId="urn:microsoft.com/office/officeart/2005/8/layout/hProcess9"/>
    <dgm:cxn modelId="{98804056-D8F8-4AE3-A510-5D22AFD3B2A9}" type="presParOf" srcId="{0FF6A150-6582-413E-B726-EF2BF9151ACE}" destId="{59BF06B3-BBDC-4CA8-A622-C896310B8FB6}" srcOrd="0" destOrd="0" presId="urn:microsoft.com/office/officeart/2005/8/layout/hProcess9"/>
    <dgm:cxn modelId="{2BDC7DAB-81A9-496A-86E1-93F8575165E6}" type="presParOf" srcId="{0FF6A150-6582-413E-B726-EF2BF9151ACE}" destId="{E90BC060-71A0-4654-A0B0-6AA56F654300}" srcOrd="1" destOrd="0" presId="urn:microsoft.com/office/officeart/2005/8/layout/hProcess9"/>
    <dgm:cxn modelId="{080ED109-7B73-4C00-B570-3CC0F7F477D7}" type="presParOf" srcId="{0FF6A150-6582-413E-B726-EF2BF9151ACE}" destId="{9625591C-AA40-49CD-99DD-91C0F5D0259F}" srcOrd="2" destOrd="0" presId="urn:microsoft.com/office/officeart/2005/8/layout/hProcess9"/>
    <dgm:cxn modelId="{EF27DC4A-A252-4112-A7B1-1DD3B226341C}" type="presParOf" srcId="{0FF6A150-6582-413E-B726-EF2BF9151ACE}" destId="{85E1B51E-4C0B-496A-A83E-7A3A9E93F387}" srcOrd="3" destOrd="0" presId="urn:microsoft.com/office/officeart/2005/8/layout/hProcess9"/>
    <dgm:cxn modelId="{E0D312C3-A5B1-484A-ABFB-977541B6E4C9}" type="presParOf" srcId="{0FF6A150-6582-413E-B726-EF2BF9151ACE}" destId="{FD0CE54C-7324-4DEA-A6A2-48636690107C}" srcOrd="4" destOrd="0" presId="urn:microsoft.com/office/officeart/2005/8/layout/hProcess9"/>
    <dgm:cxn modelId="{D4ED4BDF-6BA0-4837-ACD0-57CAAAF8B426}" type="presParOf" srcId="{0FF6A150-6582-413E-B726-EF2BF9151ACE}" destId="{B319E714-72F6-4798-A068-C3E7DFF95433}" srcOrd="5" destOrd="0" presId="urn:microsoft.com/office/officeart/2005/8/layout/hProcess9"/>
    <dgm:cxn modelId="{628930C4-91C8-42D0-877A-27606427DB48}" type="presParOf" srcId="{0FF6A150-6582-413E-B726-EF2BF9151ACE}" destId="{53DC4D4E-28AF-483F-82D5-91E744221265}" srcOrd="6" destOrd="0" presId="urn:microsoft.com/office/officeart/2005/8/layout/hProcess9"/>
    <dgm:cxn modelId="{A5C1D1CE-E093-42A7-9F9C-D5D599CC075C}" type="presParOf" srcId="{0FF6A150-6582-413E-B726-EF2BF9151ACE}" destId="{DA558024-CDE3-48F3-B063-B32310C70416}" srcOrd="7" destOrd="0" presId="urn:microsoft.com/office/officeart/2005/8/layout/hProcess9"/>
    <dgm:cxn modelId="{03BFC6B0-24F4-4FFB-8743-D9A491962CD8}" type="presParOf" srcId="{0FF6A150-6582-413E-B726-EF2BF9151ACE}" destId="{6B295985-5F4E-480D-8DA0-E75BD472FE04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58AFCE5-3911-48D9-8BE4-0FD82C1B79BA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/>
      <dgm:spPr/>
      <dgm:t>
        <a:bodyPr/>
        <a:lstStyle/>
        <a:p>
          <a:endParaRPr lang="en-US"/>
        </a:p>
      </dgm:t>
    </dgm:pt>
    <dgm:pt modelId="{CE209CB0-0AEE-4569-B1A0-449799ED449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Applications now prepared for almost 100 countries</a:t>
          </a:r>
        </a:p>
      </dgm:t>
    </dgm:pt>
    <dgm:pt modelId="{ACC10905-5DE0-4801-8813-409467E19319}" type="parTrans" cxnId="{9C084F7E-5C3C-490C-BB9F-3348A6DCD055}">
      <dgm:prSet/>
      <dgm:spPr/>
      <dgm:t>
        <a:bodyPr/>
        <a:lstStyle/>
        <a:p>
          <a:endParaRPr lang="en-US"/>
        </a:p>
      </dgm:t>
    </dgm:pt>
    <dgm:pt modelId="{ED22BAE2-02E6-4486-AB73-B32EE770E84D}" type="sibTrans" cxnId="{9C084F7E-5C3C-490C-BB9F-3348A6DCD055}">
      <dgm:prSet/>
      <dgm:spPr/>
      <dgm:t>
        <a:bodyPr/>
        <a:lstStyle/>
        <a:p>
          <a:endParaRPr lang="en-US"/>
        </a:p>
      </dgm:t>
    </dgm:pt>
    <dgm:pt modelId="{C200A90B-A84C-4389-8701-3D0B8471383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Country teams from SSA and LAC trained in the use of the model</a:t>
          </a:r>
        </a:p>
      </dgm:t>
    </dgm:pt>
    <dgm:pt modelId="{0858B53B-A960-4CBF-9A36-FA653F1D373D}" type="parTrans" cxnId="{7F8E5690-EFE6-4C4D-AA32-C9B0D3A1E25F}">
      <dgm:prSet/>
      <dgm:spPr/>
      <dgm:t>
        <a:bodyPr/>
        <a:lstStyle/>
        <a:p>
          <a:endParaRPr lang="en-US"/>
        </a:p>
      </dgm:t>
    </dgm:pt>
    <dgm:pt modelId="{231D0682-ECC6-4C16-B2A2-09671B9A6EB1}" type="sibTrans" cxnId="{7F8E5690-EFE6-4C4D-AA32-C9B0D3A1E25F}">
      <dgm:prSet/>
      <dgm:spPr/>
      <dgm:t>
        <a:bodyPr/>
        <a:lstStyle/>
        <a:p>
          <a:endParaRPr lang="en-US"/>
        </a:p>
      </dgm:t>
    </dgm:pt>
    <dgm:pt modelId="{68D4BDEC-C269-40A8-BE06-D2526EF438EC}" type="pres">
      <dgm:prSet presAssocID="{158AFCE5-3911-48D9-8BE4-0FD82C1B79BA}" presName="linear" presStyleCnt="0">
        <dgm:presLayoutVars>
          <dgm:animLvl val="lvl"/>
          <dgm:resizeHandles val="exact"/>
        </dgm:presLayoutVars>
      </dgm:prSet>
      <dgm:spPr/>
    </dgm:pt>
    <dgm:pt modelId="{F51DA18E-60AB-4E53-AC34-2A086763EA28}" type="pres">
      <dgm:prSet presAssocID="{CE209CB0-0AEE-4569-B1A0-449799ED4492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1C2D64C5-66DB-440D-9C28-BCFAE4D2DC2D}" type="pres">
      <dgm:prSet presAssocID="{ED22BAE2-02E6-4486-AB73-B32EE770E84D}" presName="spacer" presStyleCnt="0"/>
      <dgm:spPr/>
    </dgm:pt>
    <dgm:pt modelId="{32804DB1-17FC-422C-AE88-AC309851F236}" type="pres">
      <dgm:prSet presAssocID="{C200A90B-A84C-4389-8701-3D0B84713835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79A46779-BC6F-414C-BB63-821E10B2F21B}" type="presOf" srcId="{CE209CB0-0AEE-4569-B1A0-449799ED4492}" destId="{F51DA18E-60AB-4E53-AC34-2A086763EA28}" srcOrd="0" destOrd="0" presId="urn:microsoft.com/office/officeart/2005/8/layout/vList2"/>
    <dgm:cxn modelId="{9C084F7E-5C3C-490C-BB9F-3348A6DCD055}" srcId="{158AFCE5-3911-48D9-8BE4-0FD82C1B79BA}" destId="{CE209CB0-0AEE-4569-B1A0-449799ED4492}" srcOrd="0" destOrd="0" parTransId="{ACC10905-5DE0-4801-8813-409467E19319}" sibTransId="{ED22BAE2-02E6-4486-AB73-B32EE770E84D}"/>
    <dgm:cxn modelId="{7F8E5690-EFE6-4C4D-AA32-C9B0D3A1E25F}" srcId="{158AFCE5-3911-48D9-8BE4-0FD82C1B79BA}" destId="{C200A90B-A84C-4389-8701-3D0B84713835}" srcOrd="1" destOrd="0" parTransId="{0858B53B-A960-4CBF-9A36-FA653F1D373D}" sibTransId="{231D0682-ECC6-4C16-B2A2-09671B9A6EB1}"/>
    <dgm:cxn modelId="{6C3FADBC-4B23-412C-8C51-DF540E5E4967}" type="presOf" srcId="{158AFCE5-3911-48D9-8BE4-0FD82C1B79BA}" destId="{68D4BDEC-C269-40A8-BE06-D2526EF438EC}" srcOrd="0" destOrd="0" presId="urn:microsoft.com/office/officeart/2005/8/layout/vList2"/>
    <dgm:cxn modelId="{6B15D1D2-30E3-4488-942B-5CDF0B4DBB62}" type="presOf" srcId="{C200A90B-A84C-4389-8701-3D0B84713835}" destId="{32804DB1-17FC-422C-AE88-AC309851F236}" srcOrd="0" destOrd="0" presId="urn:microsoft.com/office/officeart/2005/8/layout/vList2"/>
    <dgm:cxn modelId="{48BA8D90-578D-4049-9132-B70F66831AB4}" type="presParOf" srcId="{68D4BDEC-C269-40A8-BE06-D2526EF438EC}" destId="{F51DA18E-60AB-4E53-AC34-2A086763EA28}" srcOrd="0" destOrd="0" presId="urn:microsoft.com/office/officeart/2005/8/layout/vList2"/>
    <dgm:cxn modelId="{BE201480-01B3-4990-A932-CDC46D77397B}" type="presParOf" srcId="{68D4BDEC-C269-40A8-BE06-D2526EF438EC}" destId="{1C2D64C5-66DB-440D-9C28-BCFAE4D2DC2D}" srcOrd="1" destOrd="0" presId="urn:microsoft.com/office/officeart/2005/8/layout/vList2"/>
    <dgm:cxn modelId="{F8DF27C9-2E8E-4A47-9A93-5B86D680FBD0}" type="presParOf" srcId="{68D4BDEC-C269-40A8-BE06-D2526EF438EC}" destId="{32804DB1-17FC-422C-AE88-AC309851F236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58E81C4-FF25-4B8A-AC72-678ED7D614BF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D5522F78-50E0-4EEA-84DC-93864BE8290B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800" dirty="0"/>
            <a:t>Pop Group</a:t>
          </a:r>
          <a:endParaRPr lang="en-US" sz="1200" dirty="0"/>
        </a:p>
        <a:p>
          <a:r>
            <a:rPr lang="en-US" sz="1200" dirty="0"/>
            <a:t>Faithful couples</a:t>
          </a:r>
        </a:p>
        <a:p>
          <a:r>
            <a:rPr lang="en-US" sz="1200" dirty="0"/>
            <a:t>AGYW/ABYM</a:t>
          </a:r>
        </a:p>
        <a:p>
          <a:r>
            <a:rPr lang="en-US" sz="1200" dirty="0"/>
            <a:t>Casual partnerships</a:t>
          </a:r>
        </a:p>
        <a:p>
          <a:r>
            <a:rPr lang="en-US" sz="1200" dirty="0"/>
            <a:t>Sex workers/clients</a:t>
          </a:r>
        </a:p>
        <a:p>
          <a:r>
            <a:rPr lang="en-US" sz="1200" dirty="0"/>
            <a:t>MSM</a:t>
          </a:r>
        </a:p>
        <a:p>
          <a:r>
            <a:rPr lang="en-US" sz="1200" dirty="0"/>
            <a:t>PWID</a:t>
          </a:r>
        </a:p>
      </dgm:t>
    </dgm:pt>
    <dgm:pt modelId="{46C4EF77-FF61-4E10-91F8-BAAB058F99D1}" type="parTrans" cxnId="{CBEF0447-9F82-4043-B7C3-C17D09F9E765}">
      <dgm:prSet/>
      <dgm:spPr/>
      <dgm:t>
        <a:bodyPr/>
        <a:lstStyle/>
        <a:p>
          <a:endParaRPr lang="en-US"/>
        </a:p>
      </dgm:t>
    </dgm:pt>
    <dgm:pt modelId="{1C4FBD1D-044C-436E-9C5F-24ABBCB3C9EE}" type="sibTrans" cxnId="{CBEF0447-9F82-4043-B7C3-C17D09F9E765}">
      <dgm:prSet/>
      <dgm:spPr/>
      <dgm:t>
        <a:bodyPr/>
        <a:lstStyle/>
        <a:p>
          <a:endParaRPr lang="en-US"/>
        </a:p>
      </dgm:t>
    </dgm:pt>
    <dgm:pt modelId="{4935B277-C5EB-4DA4-B52C-2F5025E5F7BF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600" dirty="0"/>
            <a:t>Behavior</a:t>
          </a:r>
        </a:p>
        <a:p>
          <a:r>
            <a:rPr lang="en-US" sz="1200" dirty="0"/>
            <a:t># partners</a:t>
          </a:r>
        </a:p>
        <a:p>
          <a:r>
            <a:rPr lang="en-US" sz="1200" dirty="0"/>
            <a:t>Acts/partner</a:t>
          </a:r>
        </a:p>
        <a:p>
          <a:r>
            <a:rPr lang="en-US" sz="1200" dirty="0"/>
            <a:t>Condom use</a:t>
          </a:r>
        </a:p>
        <a:p>
          <a:r>
            <a:rPr lang="en-US" sz="1200" dirty="0"/>
            <a:t>Age at 1</a:t>
          </a:r>
          <a:r>
            <a:rPr lang="en-US" sz="1200" baseline="30000" dirty="0"/>
            <a:t>st</a:t>
          </a:r>
          <a:r>
            <a:rPr lang="en-US" sz="1200" dirty="0"/>
            <a:t> sex</a:t>
          </a:r>
        </a:p>
        <a:p>
          <a:r>
            <a:rPr lang="en-US" sz="1200" dirty="0"/>
            <a:t>Needle sharing</a:t>
          </a:r>
        </a:p>
      </dgm:t>
    </dgm:pt>
    <dgm:pt modelId="{539C0C49-EAB7-4767-97B5-75212CA18F9B}" type="parTrans" cxnId="{D7E610D8-EB21-4A72-980A-CC3E77F4DDDC}">
      <dgm:prSet/>
      <dgm:spPr/>
      <dgm:t>
        <a:bodyPr/>
        <a:lstStyle/>
        <a:p>
          <a:endParaRPr lang="en-US"/>
        </a:p>
      </dgm:t>
    </dgm:pt>
    <dgm:pt modelId="{1FD3FF65-6EDA-41FE-8659-03C8CAC731DD}" type="sibTrans" cxnId="{D7E610D8-EB21-4A72-980A-CC3E77F4DDDC}">
      <dgm:prSet/>
      <dgm:spPr/>
      <dgm:t>
        <a:bodyPr/>
        <a:lstStyle/>
        <a:p>
          <a:endParaRPr lang="en-US"/>
        </a:p>
      </dgm:t>
    </dgm:pt>
    <dgm:pt modelId="{AC2CF1D7-B8BD-48A0-9AE6-D4AAA5EDB9C2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600" dirty="0"/>
            <a:t>Type of Transmission</a:t>
          </a:r>
        </a:p>
        <a:p>
          <a:r>
            <a:rPr lang="en-US" sz="1300" dirty="0"/>
            <a:t>Sex</a:t>
          </a:r>
        </a:p>
        <a:p>
          <a:r>
            <a:rPr lang="en-US" sz="1300" dirty="0"/>
            <a:t>Needle</a:t>
          </a:r>
        </a:p>
        <a:p>
          <a:r>
            <a:rPr lang="en-US" sz="1300" dirty="0"/>
            <a:t>Blood</a:t>
          </a:r>
        </a:p>
        <a:p>
          <a:r>
            <a:rPr lang="en-US" sz="1300" dirty="0"/>
            <a:t>MTCT</a:t>
          </a:r>
        </a:p>
      </dgm:t>
    </dgm:pt>
    <dgm:pt modelId="{B8FABD35-9030-4BC3-88F4-BC1F1761B086}" type="parTrans" cxnId="{0CBFBDA5-B168-4D97-9376-2121B339E911}">
      <dgm:prSet/>
      <dgm:spPr/>
      <dgm:t>
        <a:bodyPr/>
        <a:lstStyle/>
        <a:p>
          <a:endParaRPr lang="en-US"/>
        </a:p>
      </dgm:t>
    </dgm:pt>
    <dgm:pt modelId="{9445BCD4-A049-4AF8-B07D-DD515CFFD594}" type="sibTrans" cxnId="{0CBFBDA5-B168-4D97-9376-2121B339E911}">
      <dgm:prSet/>
      <dgm:spPr/>
      <dgm:t>
        <a:bodyPr/>
        <a:lstStyle/>
        <a:p>
          <a:endParaRPr lang="en-US"/>
        </a:p>
      </dgm:t>
    </dgm:pt>
    <dgm:pt modelId="{A0F3A019-AD2E-4653-B83D-96FCCE5BCCA7}">
      <dgm:prSet/>
      <dgm:spPr>
        <a:solidFill>
          <a:schemeClr val="tx2"/>
        </a:solidFill>
      </dgm:spPr>
      <dgm:t>
        <a:bodyPr/>
        <a:lstStyle/>
        <a:p>
          <a:r>
            <a:rPr lang="en-US" dirty="0"/>
            <a:t>Probability of Transmission</a:t>
          </a:r>
        </a:p>
      </dgm:t>
    </dgm:pt>
    <dgm:pt modelId="{55E5DEA0-324C-4E08-A473-EBDD17ED714A}" type="parTrans" cxnId="{809037B8-1920-4369-AF58-175D244CE494}">
      <dgm:prSet/>
      <dgm:spPr/>
      <dgm:t>
        <a:bodyPr/>
        <a:lstStyle/>
        <a:p>
          <a:endParaRPr lang="en-US"/>
        </a:p>
      </dgm:t>
    </dgm:pt>
    <dgm:pt modelId="{9D883A93-E1B3-4BA4-888B-2D0E9ED1C372}" type="sibTrans" cxnId="{809037B8-1920-4369-AF58-175D244CE494}">
      <dgm:prSet/>
      <dgm:spPr/>
      <dgm:t>
        <a:bodyPr/>
        <a:lstStyle/>
        <a:p>
          <a:endParaRPr lang="en-US"/>
        </a:p>
      </dgm:t>
    </dgm:pt>
    <dgm:pt modelId="{54D5A8B9-BFE0-43CC-9853-792702870F1C}">
      <dgm:prSet/>
      <dgm:spPr>
        <a:solidFill>
          <a:schemeClr val="tx2"/>
        </a:solidFill>
      </dgm:spPr>
      <dgm:t>
        <a:bodyPr/>
        <a:lstStyle/>
        <a:p>
          <a:r>
            <a:rPr lang="en-US" dirty="0"/>
            <a:t>New HIV Infections</a:t>
          </a:r>
        </a:p>
      </dgm:t>
    </dgm:pt>
    <dgm:pt modelId="{A8AD1E06-03CC-49ED-879D-A031D1105A77}" type="parTrans" cxnId="{95FC6347-A791-4A5F-8526-DD4800437019}">
      <dgm:prSet/>
      <dgm:spPr/>
      <dgm:t>
        <a:bodyPr/>
        <a:lstStyle/>
        <a:p>
          <a:endParaRPr lang="en-US"/>
        </a:p>
      </dgm:t>
    </dgm:pt>
    <dgm:pt modelId="{D9073537-70EF-4D91-8470-E38E9FE9410D}" type="sibTrans" cxnId="{95FC6347-A791-4A5F-8526-DD4800437019}">
      <dgm:prSet/>
      <dgm:spPr/>
      <dgm:t>
        <a:bodyPr/>
        <a:lstStyle/>
        <a:p>
          <a:endParaRPr lang="en-US"/>
        </a:p>
      </dgm:t>
    </dgm:pt>
    <dgm:pt modelId="{094FE72C-AC7B-469F-A82C-D8B688B5E36F}" type="pres">
      <dgm:prSet presAssocID="{658E81C4-FF25-4B8A-AC72-678ED7D614BF}" presName="CompostProcess" presStyleCnt="0">
        <dgm:presLayoutVars>
          <dgm:dir/>
          <dgm:resizeHandles val="exact"/>
        </dgm:presLayoutVars>
      </dgm:prSet>
      <dgm:spPr/>
    </dgm:pt>
    <dgm:pt modelId="{AA922E4B-1622-4871-A1D0-483511AD9ABC}" type="pres">
      <dgm:prSet presAssocID="{658E81C4-FF25-4B8A-AC72-678ED7D614BF}" presName="arrow" presStyleLbl="bgShp" presStyleIdx="0" presStyleCnt="1"/>
      <dgm:spPr/>
    </dgm:pt>
    <dgm:pt modelId="{7D7C467E-3E3A-4C1A-B0ED-15BA014307A9}" type="pres">
      <dgm:prSet presAssocID="{658E81C4-FF25-4B8A-AC72-678ED7D614BF}" presName="linearProcess" presStyleCnt="0"/>
      <dgm:spPr/>
    </dgm:pt>
    <dgm:pt modelId="{2B1CCC5B-94D4-419C-816D-F9481AECA6A3}" type="pres">
      <dgm:prSet presAssocID="{D5522F78-50E0-4EEA-84DC-93864BE8290B}" presName="textNode" presStyleLbl="node1" presStyleIdx="0" presStyleCnt="5">
        <dgm:presLayoutVars>
          <dgm:bulletEnabled val="1"/>
        </dgm:presLayoutVars>
      </dgm:prSet>
      <dgm:spPr/>
    </dgm:pt>
    <dgm:pt modelId="{75E7527A-523D-498D-ADFC-1A368FE3A5DE}" type="pres">
      <dgm:prSet presAssocID="{1C4FBD1D-044C-436E-9C5F-24ABBCB3C9EE}" presName="sibTrans" presStyleCnt="0"/>
      <dgm:spPr/>
    </dgm:pt>
    <dgm:pt modelId="{BF154371-FFBC-4426-BB91-CCD0AE596E9B}" type="pres">
      <dgm:prSet presAssocID="{4935B277-C5EB-4DA4-B52C-2F5025E5F7BF}" presName="textNode" presStyleLbl="node1" presStyleIdx="1" presStyleCnt="5">
        <dgm:presLayoutVars>
          <dgm:bulletEnabled val="1"/>
        </dgm:presLayoutVars>
      </dgm:prSet>
      <dgm:spPr/>
    </dgm:pt>
    <dgm:pt modelId="{DCFB99C4-7D8E-4E03-88E5-6120FD86A5CB}" type="pres">
      <dgm:prSet presAssocID="{1FD3FF65-6EDA-41FE-8659-03C8CAC731DD}" presName="sibTrans" presStyleCnt="0"/>
      <dgm:spPr/>
    </dgm:pt>
    <dgm:pt modelId="{F624644D-70C1-4B84-84D6-9F8C7AC5ABB5}" type="pres">
      <dgm:prSet presAssocID="{AC2CF1D7-B8BD-48A0-9AE6-D4AAA5EDB9C2}" presName="textNode" presStyleLbl="node1" presStyleIdx="2" presStyleCnt="5">
        <dgm:presLayoutVars>
          <dgm:bulletEnabled val="1"/>
        </dgm:presLayoutVars>
      </dgm:prSet>
      <dgm:spPr/>
    </dgm:pt>
    <dgm:pt modelId="{C86B3C5F-41ED-4F88-86B1-9E543BFAD6FC}" type="pres">
      <dgm:prSet presAssocID="{9445BCD4-A049-4AF8-B07D-DD515CFFD594}" presName="sibTrans" presStyleCnt="0"/>
      <dgm:spPr/>
    </dgm:pt>
    <dgm:pt modelId="{3A0F8FE4-283F-421D-A563-C962902BBF98}" type="pres">
      <dgm:prSet presAssocID="{A0F3A019-AD2E-4653-B83D-96FCCE5BCCA7}" presName="textNode" presStyleLbl="node1" presStyleIdx="3" presStyleCnt="5">
        <dgm:presLayoutVars>
          <dgm:bulletEnabled val="1"/>
        </dgm:presLayoutVars>
      </dgm:prSet>
      <dgm:spPr/>
    </dgm:pt>
    <dgm:pt modelId="{01E3D735-7DED-4F84-BCC9-F8E084D262D3}" type="pres">
      <dgm:prSet presAssocID="{9D883A93-E1B3-4BA4-888B-2D0E9ED1C372}" presName="sibTrans" presStyleCnt="0"/>
      <dgm:spPr/>
    </dgm:pt>
    <dgm:pt modelId="{87620C8E-D7AA-4D75-85FD-6A218C33441B}" type="pres">
      <dgm:prSet presAssocID="{54D5A8B9-BFE0-43CC-9853-792702870F1C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285ECC01-2B87-4144-9A88-6148E746F83F}" type="presOf" srcId="{54D5A8B9-BFE0-43CC-9853-792702870F1C}" destId="{87620C8E-D7AA-4D75-85FD-6A218C33441B}" srcOrd="0" destOrd="0" presId="urn:microsoft.com/office/officeart/2005/8/layout/hProcess9"/>
    <dgm:cxn modelId="{534B9240-26E4-41E4-934C-6E12EEEBA127}" type="presOf" srcId="{658E81C4-FF25-4B8A-AC72-678ED7D614BF}" destId="{094FE72C-AC7B-469F-A82C-D8B688B5E36F}" srcOrd="0" destOrd="0" presId="urn:microsoft.com/office/officeart/2005/8/layout/hProcess9"/>
    <dgm:cxn modelId="{CBEF0447-9F82-4043-B7C3-C17D09F9E765}" srcId="{658E81C4-FF25-4B8A-AC72-678ED7D614BF}" destId="{D5522F78-50E0-4EEA-84DC-93864BE8290B}" srcOrd="0" destOrd="0" parTransId="{46C4EF77-FF61-4E10-91F8-BAAB058F99D1}" sibTransId="{1C4FBD1D-044C-436E-9C5F-24ABBCB3C9EE}"/>
    <dgm:cxn modelId="{95FC6347-A791-4A5F-8526-DD4800437019}" srcId="{658E81C4-FF25-4B8A-AC72-678ED7D614BF}" destId="{54D5A8B9-BFE0-43CC-9853-792702870F1C}" srcOrd="4" destOrd="0" parTransId="{A8AD1E06-03CC-49ED-879D-A031D1105A77}" sibTransId="{D9073537-70EF-4D91-8470-E38E9FE9410D}"/>
    <dgm:cxn modelId="{9C1F988F-1E09-4888-8A5F-BB84547C33F5}" type="presOf" srcId="{D5522F78-50E0-4EEA-84DC-93864BE8290B}" destId="{2B1CCC5B-94D4-419C-816D-F9481AECA6A3}" srcOrd="0" destOrd="0" presId="urn:microsoft.com/office/officeart/2005/8/layout/hProcess9"/>
    <dgm:cxn modelId="{0CBFBDA5-B168-4D97-9376-2121B339E911}" srcId="{658E81C4-FF25-4B8A-AC72-678ED7D614BF}" destId="{AC2CF1D7-B8BD-48A0-9AE6-D4AAA5EDB9C2}" srcOrd="2" destOrd="0" parTransId="{B8FABD35-9030-4BC3-88F4-BC1F1761B086}" sibTransId="{9445BCD4-A049-4AF8-B07D-DD515CFFD594}"/>
    <dgm:cxn modelId="{809037B8-1920-4369-AF58-175D244CE494}" srcId="{658E81C4-FF25-4B8A-AC72-678ED7D614BF}" destId="{A0F3A019-AD2E-4653-B83D-96FCCE5BCCA7}" srcOrd="3" destOrd="0" parTransId="{55E5DEA0-324C-4E08-A473-EBDD17ED714A}" sibTransId="{9D883A93-E1B3-4BA4-888B-2D0E9ED1C372}"/>
    <dgm:cxn modelId="{0904A5C9-6660-4101-B8B1-72F539E9040F}" type="presOf" srcId="{AC2CF1D7-B8BD-48A0-9AE6-D4AAA5EDB9C2}" destId="{F624644D-70C1-4B84-84D6-9F8C7AC5ABB5}" srcOrd="0" destOrd="0" presId="urn:microsoft.com/office/officeart/2005/8/layout/hProcess9"/>
    <dgm:cxn modelId="{564170CC-F9E0-4ED9-ADF6-ED6467AAA7D7}" type="presOf" srcId="{4935B277-C5EB-4DA4-B52C-2F5025E5F7BF}" destId="{BF154371-FFBC-4426-BB91-CCD0AE596E9B}" srcOrd="0" destOrd="0" presId="urn:microsoft.com/office/officeart/2005/8/layout/hProcess9"/>
    <dgm:cxn modelId="{D7E610D8-EB21-4A72-980A-CC3E77F4DDDC}" srcId="{658E81C4-FF25-4B8A-AC72-678ED7D614BF}" destId="{4935B277-C5EB-4DA4-B52C-2F5025E5F7BF}" srcOrd="1" destOrd="0" parTransId="{539C0C49-EAB7-4767-97B5-75212CA18F9B}" sibTransId="{1FD3FF65-6EDA-41FE-8659-03C8CAC731DD}"/>
    <dgm:cxn modelId="{E50A3CF2-853E-442E-A7CC-12D3A20BA892}" type="presOf" srcId="{A0F3A019-AD2E-4653-B83D-96FCCE5BCCA7}" destId="{3A0F8FE4-283F-421D-A563-C962902BBF98}" srcOrd="0" destOrd="0" presId="urn:microsoft.com/office/officeart/2005/8/layout/hProcess9"/>
    <dgm:cxn modelId="{6C82417F-8111-4F47-9B42-79850819537A}" type="presParOf" srcId="{094FE72C-AC7B-469F-A82C-D8B688B5E36F}" destId="{AA922E4B-1622-4871-A1D0-483511AD9ABC}" srcOrd="0" destOrd="0" presId="urn:microsoft.com/office/officeart/2005/8/layout/hProcess9"/>
    <dgm:cxn modelId="{860314EF-4385-49F0-9EB5-74F24B1C4A35}" type="presParOf" srcId="{094FE72C-AC7B-469F-A82C-D8B688B5E36F}" destId="{7D7C467E-3E3A-4C1A-B0ED-15BA014307A9}" srcOrd="1" destOrd="0" presId="urn:microsoft.com/office/officeart/2005/8/layout/hProcess9"/>
    <dgm:cxn modelId="{A4B93A7B-5A7A-4787-A878-A401F875FD46}" type="presParOf" srcId="{7D7C467E-3E3A-4C1A-B0ED-15BA014307A9}" destId="{2B1CCC5B-94D4-419C-816D-F9481AECA6A3}" srcOrd="0" destOrd="0" presId="urn:microsoft.com/office/officeart/2005/8/layout/hProcess9"/>
    <dgm:cxn modelId="{A8887DC9-7ECD-4192-9B8B-4F06BE90926A}" type="presParOf" srcId="{7D7C467E-3E3A-4C1A-B0ED-15BA014307A9}" destId="{75E7527A-523D-498D-ADFC-1A368FE3A5DE}" srcOrd="1" destOrd="0" presId="urn:microsoft.com/office/officeart/2005/8/layout/hProcess9"/>
    <dgm:cxn modelId="{5993F920-1C57-4366-9479-38E8B19EB6F8}" type="presParOf" srcId="{7D7C467E-3E3A-4C1A-B0ED-15BA014307A9}" destId="{BF154371-FFBC-4426-BB91-CCD0AE596E9B}" srcOrd="2" destOrd="0" presId="urn:microsoft.com/office/officeart/2005/8/layout/hProcess9"/>
    <dgm:cxn modelId="{E2F24257-D91E-4D7F-85BD-52C59772FCA4}" type="presParOf" srcId="{7D7C467E-3E3A-4C1A-B0ED-15BA014307A9}" destId="{DCFB99C4-7D8E-4E03-88E5-6120FD86A5CB}" srcOrd="3" destOrd="0" presId="urn:microsoft.com/office/officeart/2005/8/layout/hProcess9"/>
    <dgm:cxn modelId="{CF86A20B-C91B-400D-8772-70A47FE10880}" type="presParOf" srcId="{7D7C467E-3E3A-4C1A-B0ED-15BA014307A9}" destId="{F624644D-70C1-4B84-84D6-9F8C7AC5ABB5}" srcOrd="4" destOrd="0" presId="urn:microsoft.com/office/officeart/2005/8/layout/hProcess9"/>
    <dgm:cxn modelId="{26550304-3506-4A1F-9C6E-C7E745498D1D}" type="presParOf" srcId="{7D7C467E-3E3A-4C1A-B0ED-15BA014307A9}" destId="{C86B3C5F-41ED-4F88-86B1-9E543BFAD6FC}" srcOrd="5" destOrd="0" presId="urn:microsoft.com/office/officeart/2005/8/layout/hProcess9"/>
    <dgm:cxn modelId="{0A5C4AAC-4D99-41C1-AE3F-7B489C5D1884}" type="presParOf" srcId="{7D7C467E-3E3A-4C1A-B0ED-15BA014307A9}" destId="{3A0F8FE4-283F-421D-A563-C962902BBF98}" srcOrd="6" destOrd="0" presId="urn:microsoft.com/office/officeart/2005/8/layout/hProcess9"/>
    <dgm:cxn modelId="{46881BEA-FCFD-426C-8542-5C6349B44707}" type="presParOf" srcId="{7D7C467E-3E3A-4C1A-B0ED-15BA014307A9}" destId="{01E3D735-7DED-4F84-BCC9-F8E084D262D3}" srcOrd="7" destOrd="0" presId="urn:microsoft.com/office/officeart/2005/8/layout/hProcess9"/>
    <dgm:cxn modelId="{C545B822-6648-48EC-AB04-B83893738E59}" type="presParOf" srcId="{7D7C467E-3E3A-4C1A-B0ED-15BA014307A9}" destId="{87620C8E-D7AA-4D75-85FD-6A218C33441B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58E81C4-FF25-4B8A-AC72-678ED7D614BF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D5522F78-50E0-4EEA-84DC-93864BE8290B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800" dirty="0"/>
            <a:t>Pop Group</a:t>
          </a:r>
          <a:endParaRPr lang="en-US" sz="1200" dirty="0"/>
        </a:p>
        <a:p>
          <a:r>
            <a:rPr lang="en-US" sz="1200" dirty="0"/>
            <a:t>Faithful couples</a:t>
          </a:r>
        </a:p>
        <a:p>
          <a:r>
            <a:rPr lang="en-US" sz="1200" dirty="0"/>
            <a:t>AGYW/ABYM</a:t>
          </a:r>
        </a:p>
        <a:p>
          <a:r>
            <a:rPr lang="en-US" sz="1200" dirty="0"/>
            <a:t>Casual partnerships</a:t>
          </a:r>
        </a:p>
        <a:p>
          <a:r>
            <a:rPr lang="en-US" sz="1200" dirty="0"/>
            <a:t>Sex workers/clients</a:t>
          </a:r>
        </a:p>
        <a:p>
          <a:r>
            <a:rPr lang="en-US" sz="1200" dirty="0"/>
            <a:t>MSM</a:t>
          </a:r>
        </a:p>
        <a:p>
          <a:r>
            <a:rPr lang="en-US" sz="1200" dirty="0"/>
            <a:t>PWID</a:t>
          </a:r>
        </a:p>
      </dgm:t>
    </dgm:pt>
    <dgm:pt modelId="{46C4EF77-FF61-4E10-91F8-BAAB058F99D1}" type="parTrans" cxnId="{CBEF0447-9F82-4043-B7C3-C17D09F9E765}">
      <dgm:prSet/>
      <dgm:spPr/>
      <dgm:t>
        <a:bodyPr/>
        <a:lstStyle/>
        <a:p>
          <a:endParaRPr lang="en-US"/>
        </a:p>
      </dgm:t>
    </dgm:pt>
    <dgm:pt modelId="{1C4FBD1D-044C-436E-9C5F-24ABBCB3C9EE}" type="sibTrans" cxnId="{CBEF0447-9F82-4043-B7C3-C17D09F9E765}">
      <dgm:prSet/>
      <dgm:spPr/>
      <dgm:t>
        <a:bodyPr/>
        <a:lstStyle/>
        <a:p>
          <a:endParaRPr lang="en-US"/>
        </a:p>
      </dgm:t>
    </dgm:pt>
    <dgm:pt modelId="{4935B277-C5EB-4DA4-B52C-2F5025E5F7BF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600" dirty="0"/>
            <a:t>Behavior</a:t>
          </a:r>
        </a:p>
        <a:p>
          <a:r>
            <a:rPr lang="en-US" sz="1200" dirty="0"/>
            <a:t># partners</a:t>
          </a:r>
        </a:p>
        <a:p>
          <a:r>
            <a:rPr lang="en-US" sz="1200" dirty="0"/>
            <a:t>Acts/partner</a:t>
          </a:r>
        </a:p>
        <a:p>
          <a:r>
            <a:rPr lang="en-US" sz="1200" dirty="0"/>
            <a:t>Condom use</a:t>
          </a:r>
        </a:p>
        <a:p>
          <a:r>
            <a:rPr lang="en-US" sz="1200" dirty="0"/>
            <a:t>Age at 1</a:t>
          </a:r>
          <a:r>
            <a:rPr lang="en-US" sz="1200" baseline="30000" dirty="0"/>
            <a:t>st</a:t>
          </a:r>
          <a:r>
            <a:rPr lang="en-US" sz="1200" dirty="0"/>
            <a:t> sex</a:t>
          </a:r>
        </a:p>
        <a:p>
          <a:r>
            <a:rPr lang="en-US" sz="1200" dirty="0"/>
            <a:t>Needle sharing</a:t>
          </a:r>
        </a:p>
      </dgm:t>
    </dgm:pt>
    <dgm:pt modelId="{539C0C49-EAB7-4767-97B5-75212CA18F9B}" type="parTrans" cxnId="{D7E610D8-EB21-4A72-980A-CC3E77F4DDDC}">
      <dgm:prSet/>
      <dgm:spPr/>
      <dgm:t>
        <a:bodyPr/>
        <a:lstStyle/>
        <a:p>
          <a:endParaRPr lang="en-US"/>
        </a:p>
      </dgm:t>
    </dgm:pt>
    <dgm:pt modelId="{1FD3FF65-6EDA-41FE-8659-03C8CAC731DD}" type="sibTrans" cxnId="{D7E610D8-EB21-4A72-980A-CC3E77F4DDDC}">
      <dgm:prSet/>
      <dgm:spPr/>
      <dgm:t>
        <a:bodyPr/>
        <a:lstStyle/>
        <a:p>
          <a:endParaRPr lang="en-US"/>
        </a:p>
      </dgm:t>
    </dgm:pt>
    <dgm:pt modelId="{AC2CF1D7-B8BD-48A0-9AE6-D4AAA5EDB9C2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600" dirty="0"/>
            <a:t>Type of Transmission</a:t>
          </a:r>
        </a:p>
        <a:p>
          <a:r>
            <a:rPr lang="en-US" sz="1300" dirty="0"/>
            <a:t>Sex</a:t>
          </a:r>
        </a:p>
        <a:p>
          <a:r>
            <a:rPr lang="en-US" sz="1300" dirty="0"/>
            <a:t>Needle</a:t>
          </a:r>
        </a:p>
        <a:p>
          <a:r>
            <a:rPr lang="en-US" sz="1300" dirty="0"/>
            <a:t>Blood</a:t>
          </a:r>
        </a:p>
        <a:p>
          <a:r>
            <a:rPr lang="en-US" sz="1300" dirty="0"/>
            <a:t>MTCT</a:t>
          </a:r>
        </a:p>
      </dgm:t>
    </dgm:pt>
    <dgm:pt modelId="{B8FABD35-9030-4BC3-88F4-BC1F1761B086}" type="parTrans" cxnId="{0CBFBDA5-B168-4D97-9376-2121B339E911}">
      <dgm:prSet/>
      <dgm:spPr/>
      <dgm:t>
        <a:bodyPr/>
        <a:lstStyle/>
        <a:p>
          <a:endParaRPr lang="en-US"/>
        </a:p>
      </dgm:t>
    </dgm:pt>
    <dgm:pt modelId="{9445BCD4-A049-4AF8-B07D-DD515CFFD594}" type="sibTrans" cxnId="{0CBFBDA5-B168-4D97-9376-2121B339E911}">
      <dgm:prSet/>
      <dgm:spPr/>
      <dgm:t>
        <a:bodyPr/>
        <a:lstStyle/>
        <a:p>
          <a:endParaRPr lang="en-US"/>
        </a:p>
      </dgm:t>
    </dgm:pt>
    <dgm:pt modelId="{A0F3A019-AD2E-4653-B83D-96FCCE5BCCA7}">
      <dgm:prSet/>
      <dgm:spPr>
        <a:solidFill>
          <a:schemeClr val="tx2"/>
        </a:solidFill>
      </dgm:spPr>
      <dgm:t>
        <a:bodyPr/>
        <a:lstStyle/>
        <a:p>
          <a:r>
            <a:rPr lang="en-US" dirty="0"/>
            <a:t>Probability of Transmission</a:t>
          </a:r>
        </a:p>
      </dgm:t>
    </dgm:pt>
    <dgm:pt modelId="{55E5DEA0-324C-4E08-A473-EBDD17ED714A}" type="parTrans" cxnId="{809037B8-1920-4369-AF58-175D244CE494}">
      <dgm:prSet/>
      <dgm:spPr/>
      <dgm:t>
        <a:bodyPr/>
        <a:lstStyle/>
        <a:p>
          <a:endParaRPr lang="en-US"/>
        </a:p>
      </dgm:t>
    </dgm:pt>
    <dgm:pt modelId="{9D883A93-E1B3-4BA4-888B-2D0E9ED1C372}" type="sibTrans" cxnId="{809037B8-1920-4369-AF58-175D244CE494}">
      <dgm:prSet/>
      <dgm:spPr/>
      <dgm:t>
        <a:bodyPr/>
        <a:lstStyle/>
        <a:p>
          <a:endParaRPr lang="en-US"/>
        </a:p>
      </dgm:t>
    </dgm:pt>
    <dgm:pt modelId="{54D5A8B9-BFE0-43CC-9853-792702870F1C}">
      <dgm:prSet/>
      <dgm:spPr>
        <a:solidFill>
          <a:schemeClr val="tx2"/>
        </a:solidFill>
      </dgm:spPr>
      <dgm:t>
        <a:bodyPr/>
        <a:lstStyle/>
        <a:p>
          <a:r>
            <a:rPr lang="en-US" dirty="0"/>
            <a:t>New HIV Infections</a:t>
          </a:r>
        </a:p>
      </dgm:t>
    </dgm:pt>
    <dgm:pt modelId="{A8AD1E06-03CC-49ED-879D-A031D1105A77}" type="parTrans" cxnId="{95FC6347-A791-4A5F-8526-DD4800437019}">
      <dgm:prSet/>
      <dgm:spPr/>
      <dgm:t>
        <a:bodyPr/>
        <a:lstStyle/>
        <a:p>
          <a:endParaRPr lang="en-US"/>
        </a:p>
      </dgm:t>
    </dgm:pt>
    <dgm:pt modelId="{D9073537-70EF-4D91-8470-E38E9FE9410D}" type="sibTrans" cxnId="{95FC6347-A791-4A5F-8526-DD4800437019}">
      <dgm:prSet/>
      <dgm:spPr/>
      <dgm:t>
        <a:bodyPr/>
        <a:lstStyle/>
        <a:p>
          <a:endParaRPr lang="en-US"/>
        </a:p>
      </dgm:t>
    </dgm:pt>
    <dgm:pt modelId="{094FE72C-AC7B-469F-A82C-D8B688B5E36F}" type="pres">
      <dgm:prSet presAssocID="{658E81C4-FF25-4B8A-AC72-678ED7D614BF}" presName="CompostProcess" presStyleCnt="0">
        <dgm:presLayoutVars>
          <dgm:dir/>
          <dgm:resizeHandles val="exact"/>
        </dgm:presLayoutVars>
      </dgm:prSet>
      <dgm:spPr/>
    </dgm:pt>
    <dgm:pt modelId="{AA922E4B-1622-4871-A1D0-483511AD9ABC}" type="pres">
      <dgm:prSet presAssocID="{658E81C4-FF25-4B8A-AC72-678ED7D614BF}" presName="arrow" presStyleLbl="bgShp" presStyleIdx="0" presStyleCnt="1"/>
      <dgm:spPr/>
    </dgm:pt>
    <dgm:pt modelId="{7D7C467E-3E3A-4C1A-B0ED-15BA014307A9}" type="pres">
      <dgm:prSet presAssocID="{658E81C4-FF25-4B8A-AC72-678ED7D614BF}" presName="linearProcess" presStyleCnt="0"/>
      <dgm:spPr/>
    </dgm:pt>
    <dgm:pt modelId="{2B1CCC5B-94D4-419C-816D-F9481AECA6A3}" type="pres">
      <dgm:prSet presAssocID="{D5522F78-50E0-4EEA-84DC-93864BE8290B}" presName="textNode" presStyleLbl="node1" presStyleIdx="0" presStyleCnt="5">
        <dgm:presLayoutVars>
          <dgm:bulletEnabled val="1"/>
        </dgm:presLayoutVars>
      </dgm:prSet>
      <dgm:spPr/>
    </dgm:pt>
    <dgm:pt modelId="{75E7527A-523D-498D-ADFC-1A368FE3A5DE}" type="pres">
      <dgm:prSet presAssocID="{1C4FBD1D-044C-436E-9C5F-24ABBCB3C9EE}" presName="sibTrans" presStyleCnt="0"/>
      <dgm:spPr/>
    </dgm:pt>
    <dgm:pt modelId="{BF154371-FFBC-4426-BB91-CCD0AE596E9B}" type="pres">
      <dgm:prSet presAssocID="{4935B277-C5EB-4DA4-B52C-2F5025E5F7BF}" presName="textNode" presStyleLbl="node1" presStyleIdx="1" presStyleCnt="5">
        <dgm:presLayoutVars>
          <dgm:bulletEnabled val="1"/>
        </dgm:presLayoutVars>
      </dgm:prSet>
      <dgm:spPr/>
    </dgm:pt>
    <dgm:pt modelId="{DCFB99C4-7D8E-4E03-88E5-6120FD86A5CB}" type="pres">
      <dgm:prSet presAssocID="{1FD3FF65-6EDA-41FE-8659-03C8CAC731DD}" presName="sibTrans" presStyleCnt="0"/>
      <dgm:spPr/>
    </dgm:pt>
    <dgm:pt modelId="{F624644D-70C1-4B84-84D6-9F8C7AC5ABB5}" type="pres">
      <dgm:prSet presAssocID="{AC2CF1D7-B8BD-48A0-9AE6-D4AAA5EDB9C2}" presName="textNode" presStyleLbl="node1" presStyleIdx="2" presStyleCnt="5">
        <dgm:presLayoutVars>
          <dgm:bulletEnabled val="1"/>
        </dgm:presLayoutVars>
      </dgm:prSet>
      <dgm:spPr/>
    </dgm:pt>
    <dgm:pt modelId="{C86B3C5F-41ED-4F88-86B1-9E543BFAD6FC}" type="pres">
      <dgm:prSet presAssocID="{9445BCD4-A049-4AF8-B07D-DD515CFFD594}" presName="sibTrans" presStyleCnt="0"/>
      <dgm:spPr/>
    </dgm:pt>
    <dgm:pt modelId="{3A0F8FE4-283F-421D-A563-C962902BBF98}" type="pres">
      <dgm:prSet presAssocID="{A0F3A019-AD2E-4653-B83D-96FCCE5BCCA7}" presName="textNode" presStyleLbl="node1" presStyleIdx="3" presStyleCnt="5">
        <dgm:presLayoutVars>
          <dgm:bulletEnabled val="1"/>
        </dgm:presLayoutVars>
      </dgm:prSet>
      <dgm:spPr/>
    </dgm:pt>
    <dgm:pt modelId="{01E3D735-7DED-4F84-BCC9-F8E084D262D3}" type="pres">
      <dgm:prSet presAssocID="{9D883A93-E1B3-4BA4-888B-2D0E9ED1C372}" presName="sibTrans" presStyleCnt="0"/>
      <dgm:spPr/>
    </dgm:pt>
    <dgm:pt modelId="{87620C8E-D7AA-4D75-85FD-6A218C33441B}" type="pres">
      <dgm:prSet presAssocID="{54D5A8B9-BFE0-43CC-9853-792702870F1C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285ECC01-2B87-4144-9A88-6148E746F83F}" type="presOf" srcId="{54D5A8B9-BFE0-43CC-9853-792702870F1C}" destId="{87620C8E-D7AA-4D75-85FD-6A218C33441B}" srcOrd="0" destOrd="0" presId="urn:microsoft.com/office/officeart/2005/8/layout/hProcess9"/>
    <dgm:cxn modelId="{534B9240-26E4-41E4-934C-6E12EEEBA127}" type="presOf" srcId="{658E81C4-FF25-4B8A-AC72-678ED7D614BF}" destId="{094FE72C-AC7B-469F-A82C-D8B688B5E36F}" srcOrd="0" destOrd="0" presId="urn:microsoft.com/office/officeart/2005/8/layout/hProcess9"/>
    <dgm:cxn modelId="{CBEF0447-9F82-4043-B7C3-C17D09F9E765}" srcId="{658E81C4-FF25-4B8A-AC72-678ED7D614BF}" destId="{D5522F78-50E0-4EEA-84DC-93864BE8290B}" srcOrd="0" destOrd="0" parTransId="{46C4EF77-FF61-4E10-91F8-BAAB058F99D1}" sibTransId="{1C4FBD1D-044C-436E-9C5F-24ABBCB3C9EE}"/>
    <dgm:cxn modelId="{95FC6347-A791-4A5F-8526-DD4800437019}" srcId="{658E81C4-FF25-4B8A-AC72-678ED7D614BF}" destId="{54D5A8B9-BFE0-43CC-9853-792702870F1C}" srcOrd="4" destOrd="0" parTransId="{A8AD1E06-03CC-49ED-879D-A031D1105A77}" sibTransId="{D9073537-70EF-4D91-8470-E38E9FE9410D}"/>
    <dgm:cxn modelId="{9C1F988F-1E09-4888-8A5F-BB84547C33F5}" type="presOf" srcId="{D5522F78-50E0-4EEA-84DC-93864BE8290B}" destId="{2B1CCC5B-94D4-419C-816D-F9481AECA6A3}" srcOrd="0" destOrd="0" presId="urn:microsoft.com/office/officeart/2005/8/layout/hProcess9"/>
    <dgm:cxn modelId="{0CBFBDA5-B168-4D97-9376-2121B339E911}" srcId="{658E81C4-FF25-4B8A-AC72-678ED7D614BF}" destId="{AC2CF1D7-B8BD-48A0-9AE6-D4AAA5EDB9C2}" srcOrd="2" destOrd="0" parTransId="{B8FABD35-9030-4BC3-88F4-BC1F1761B086}" sibTransId="{9445BCD4-A049-4AF8-B07D-DD515CFFD594}"/>
    <dgm:cxn modelId="{809037B8-1920-4369-AF58-175D244CE494}" srcId="{658E81C4-FF25-4B8A-AC72-678ED7D614BF}" destId="{A0F3A019-AD2E-4653-B83D-96FCCE5BCCA7}" srcOrd="3" destOrd="0" parTransId="{55E5DEA0-324C-4E08-A473-EBDD17ED714A}" sibTransId="{9D883A93-E1B3-4BA4-888B-2D0E9ED1C372}"/>
    <dgm:cxn modelId="{0904A5C9-6660-4101-B8B1-72F539E9040F}" type="presOf" srcId="{AC2CF1D7-B8BD-48A0-9AE6-D4AAA5EDB9C2}" destId="{F624644D-70C1-4B84-84D6-9F8C7AC5ABB5}" srcOrd="0" destOrd="0" presId="urn:microsoft.com/office/officeart/2005/8/layout/hProcess9"/>
    <dgm:cxn modelId="{564170CC-F9E0-4ED9-ADF6-ED6467AAA7D7}" type="presOf" srcId="{4935B277-C5EB-4DA4-B52C-2F5025E5F7BF}" destId="{BF154371-FFBC-4426-BB91-CCD0AE596E9B}" srcOrd="0" destOrd="0" presId="urn:microsoft.com/office/officeart/2005/8/layout/hProcess9"/>
    <dgm:cxn modelId="{D7E610D8-EB21-4A72-980A-CC3E77F4DDDC}" srcId="{658E81C4-FF25-4B8A-AC72-678ED7D614BF}" destId="{4935B277-C5EB-4DA4-B52C-2F5025E5F7BF}" srcOrd="1" destOrd="0" parTransId="{539C0C49-EAB7-4767-97B5-75212CA18F9B}" sibTransId="{1FD3FF65-6EDA-41FE-8659-03C8CAC731DD}"/>
    <dgm:cxn modelId="{E50A3CF2-853E-442E-A7CC-12D3A20BA892}" type="presOf" srcId="{A0F3A019-AD2E-4653-B83D-96FCCE5BCCA7}" destId="{3A0F8FE4-283F-421D-A563-C962902BBF98}" srcOrd="0" destOrd="0" presId="urn:microsoft.com/office/officeart/2005/8/layout/hProcess9"/>
    <dgm:cxn modelId="{6C82417F-8111-4F47-9B42-79850819537A}" type="presParOf" srcId="{094FE72C-AC7B-469F-A82C-D8B688B5E36F}" destId="{AA922E4B-1622-4871-A1D0-483511AD9ABC}" srcOrd="0" destOrd="0" presId="urn:microsoft.com/office/officeart/2005/8/layout/hProcess9"/>
    <dgm:cxn modelId="{860314EF-4385-49F0-9EB5-74F24B1C4A35}" type="presParOf" srcId="{094FE72C-AC7B-469F-A82C-D8B688B5E36F}" destId="{7D7C467E-3E3A-4C1A-B0ED-15BA014307A9}" srcOrd="1" destOrd="0" presId="urn:microsoft.com/office/officeart/2005/8/layout/hProcess9"/>
    <dgm:cxn modelId="{A4B93A7B-5A7A-4787-A878-A401F875FD46}" type="presParOf" srcId="{7D7C467E-3E3A-4C1A-B0ED-15BA014307A9}" destId="{2B1CCC5B-94D4-419C-816D-F9481AECA6A3}" srcOrd="0" destOrd="0" presId="urn:microsoft.com/office/officeart/2005/8/layout/hProcess9"/>
    <dgm:cxn modelId="{A8887DC9-7ECD-4192-9B8B-4F06BE90926A}" type="presParOf" srcId="{7D7C467E-3E3A-4C1A-B0ED-15BA014307A9}" destId="{75E7527A-523D-498D-ADFC-1A368FE3A5DE}" srcOrd="1" destOrd="0" presId="urn:microsoft.com/office/officeart/2005/8/layout/hProcess9"/>
    <dgm:cxn modelId="{5993F920-1C57-4366-9479-38E8B19EB6F8}" type="presParOf" srcId="{7D7C467E-3E3A-4C1A-B0ED-15BA014307A9}" destId="{BF154371-FFBC-4426-BB91-CCD0AE596E9B}" srcOrd="2" destOrd="0" presId="urn:microsoft.com/office/officeart/2005/8/layout/hProcess9"/>
    <dgm:cxn modelId="{E2F24257-D91E-4D7F-85BD-52C59772FCA4}" type="presParOf" srcId="{7D7C467E-3E3A-4C1A-B0ED-15BA014307A9}" destId="{DCFB99C4-7D8E-4E03-88E5-6120FD86A5CB}" srcOrd="3" destOrd="0" presId="urn:microsoft.com/office/officeart/2005/8/layout/hProcess9"/>
    <dgm:cxn modelId="{CF86A20B-C91B-400D-8772-70A47FE10880}" type="presParOf" srcId="{7D7C467E-3E3A-4C1A-B0ED-15BA014307A9}" destId="{F624644D-70C1-4B84-84D6-9F8C7AC5ABB5}" srcOrd="4" destOrd="0" presId="urn:microsoft.com/office/officeart/2005/8/layout/hProcess9"/>
    <dgm:cxn modelId="{26550304-3506-4A1F-9C6E-C7E745498D1D}" type="presParOf" srcId="{7D7C467E-3E3A-4C1A-B0ED-15BA014307A9}" destId="{C86B3C5F-41ED-4F88-86B1-9E543BFAD6FC}" srcOrd="5" destOrd="0" presId="urn:microsoft.com/office/officeart/2005/8/layout/hProcess9"/>
    <dgm:cxn modelId="{0A5C4AAC-4D99-41C1-AE3F-7B489C5D1884}" type="presParOf" srcId="{7D7C467E-3E3A-4C1A-B0ED-15BA014307A9}" destId="{3A0F8FE4-283F-421D-A563-C962902BBF98}" srcOrd="6" destOrd="0" presId="urn:microsoft.com/office/officeart/2005/8/layout/hProcess9"/>
    <dgm:cxn modelId="{46881BEA-FCFD-426C-8542-5C6349B44707}" type="presParOf" srcId="{7D7C467E-3E3A-4C1A-B0ED-15BA014307A9}" destId="{01E3D735-7DED-4F84-BCC9-F8E084D262D3}" srcOrd="7" destOrd="0" presId="urn:microsoft.com/office/officeart/2005/8/layout/hProcess9"/>
    <dgm:cxn modelId="{C545B822-6648-48EC-AB04-B83893738E59}" type="presParOf" srcId="{7D7C467E-3E3A-4C1A-B0ED-15BA014307A9}" destId="{87620C8E-D7AA-4D75-85FD-6A218C33441B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3B11DE7-33B4-4F7D-89B5-8A64ADECF8B9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977DCE-E5B8-4F8B-9AF4-E5D9C06F6B93}">
      <dgm:prSet phldrT="[Text]" custT="1"/>
      <dgm:spPr/>
      <dgm:t>
        <a:bodyPr/>
        <a:lstStyle/>
        <a:p>
          <a:r>
            <a:rPr lang="en-US" sz="1400" dirty="0"/>
            <a:t>Biomedical</a:t>
          </a:r>
          <a:endParaRPr lang="en-US" sz="1000" dirty="0"/>
        </a:p>
      </dgm:t>
    </dgm:pt>
    <dgm:pt modelId="{784DD6F2-ADC6-455F-8E68-0F9963A18B77}" type="parTrans" cxnId="{09211964-50FA-42E9-944E-82E1D1191B7C}">
      <dgm:prSet/>
      <dgm:spPr/>
      <dgm:t>
        <a:bodyPr/>
        <a:lstStyle/>
        <a:p>
          <a:endParaRPr lang="en-US"/>
        </a:p>
      </dgm:t>
    </dgm:pt>
    <dgm:pt modelId="{2241AA57-CBA1-418A-B91C-670EA2266D8E}" type="sibTrans" cxnId="{09211964-50FA-42E9-944E-82E1D1191B7C}">
      <dgm:prSet/>
      <dgm:spPr/>
      <dgm:t>
        <a:bodyPr/>
        <a:lstStyle/>
        <a:p>
          <a:endParaRPr lang="en-US"/>
        </a:p>
      </dgm:t>
    </dgm:pt>
    <dgm:pt modelId="{96703736-6277-4767-B511-2F6C7FBD65DA}">
      <dgm:prSet phldrT="[Text]" custT="1"/>
      <dgm:spPr/>
      <dgm:t>
        <a:bodyPr/>
        <a:lstStyle/>
        <a:p>
          <a:pPr algn="l"/>
          <a:r>
            <a:rPr lang="en-US" sz="1600" dirty="0"/>
            <a:t>Condoms</a:t>
          </a:r>
        </a:p>
      </dgm:t>
    </dgm:pt>
    <dgm:pt modelId="{FC099852-40AC-44BF-B543-F68E070FD0A6}" type="parTrans" cxnId="{A889015D-98FA-45CA-BFB0-D25119E0CFD3}">
      <dgm:prSet/>
      <dgm:spPr/>
      <dgm:t>
        <a:bodyPr/>
        <a:lstStyle/>
        <a:p>
          <a:endParaRPr lang="en-US"/>
        </a:p>
      </dgm:t>
    </dgm:pt>
    <dgm:pt modelId="{FD97E473-C238-45A6-BC97-E4AD4A50C224}" type="sibTrans" cxnId="{A889015D-98FA-45CA-BFB0-D25119E0CFD3}">
      <dgm:prSet/>
      <dgm:spPr/>
      <dgm:t>
        <a:bodyPr/>
        <a:lstStyle/>
        <a:p>
          <a:endParaRPr lang="en-US"/>
        </a:p>
      </dgm:t>
    </dgm:pt>
    <dgm:pt modelId="{DD5F39AF-1ECA-4A26-B80F-E30F5D435DED}">
      <dgm:prSet phldrT="[Text]" custT="1"/>
      <dgm:spPr/>
      <dgm:t>
        <a:bodyPr/>
        <a:lstStyle/>
        <a:p>
          <a:r>
            <a:rPr lang="en-US" sz="1400" dirty="0"/>
            <a:t>Behavior Change</a:t>
          </a:r>
          <a:endParaRPr lang="en-US" sz="1000" dirty="0"/>
        </a:p>
      </dgm:t>
    </dgm:pt>
    <dgm:pt modelId="{4384F4B6-E615-4049-972E-1C03D0A152F1}" type="sibTrans" cxnId="{58E80603-5F6E-43A7-ADCE-D24070C491F6}">
      <dgm:prSet/>
      <dgm:spPr/>
      <dgm:t>
        <a:bodyPr/>
        <a:lstStyle/>
        <a:p>
          <a:endParaRPr lang="en-US"/>
        </a:p>
      </dgm:t>
    </dgm:pt>
    <dgm:pt modelId="{999A3760-398E-4E00-9604-67A60DF6D929}" type="parTrans" cxnId="{58E80603-5F6E-43A7-ADCE-D24070C491F6}">
      <dgm:prSet/>
      <dgm:spPr/>
      <dgm:t>
        <a:bodyPr/>
        <a:lstStyle/>
        <a:p>
          <a:endParaRPr lang="en-US"/>
        </a:p>
      </dgm:t>
    </dgm:pt>
    <dgm:pt modelId="{CCADA2D4-8F15-4BAD-B74E-B08ADC0112F8}">
      <dgm:prSet phldrT="[Text]" custT="1"/>
      <dgm:spPr/>
      <dgm:t>
        <a:bodyPr/>
        <a:lstStyle/>
        <a:p>
          <a:r>
            <a:rPr lang="en-US" sz="1600" dirty="0"/>
            <a:t>Outreach</a:t>
          </a:r>
        </a:p>
      </dgm:t>
    </dgm:pt>
    <dgm:pt modelId="{FCC4C462-9C47-4F69-A324-B93E42C5664E}" type="sibTrans" cxnId="{241CDC87-FB8E-458E-A11D-B6DC5D7D82CA}">
      <dgm:prSet/>
      <dgm:spPr/>
      <dgm:t>
        <a:bodyPr/>
        <a:lstStyle/>
        <a:p>
          <a:endParaRPr lang="en-US"/>
        </a:p>
      </dgm:t>
    </dgm:pt>
    <dgm:pt modelId="{09D7CAC0-AD8C-4CF6-987A-EEDE7AB6E179}" type="parTrans" cxnId="{241CDC87-FB8E-458E-A11D-B6DC5D7D82CA}">
      <dgm:prSet/>
      <dgm:spPr/>
      <dgm:t>
        <a:bodyPr/>
        <a:lstStyle/>
        <a:p>
          <a:endParaRPr lang="en-US"/>
        </a:p>
      </dgm:t>
    </dgm:pt>
    <dgm:pt modelId="{CDC6C20F-DBA1-4D5B-B8FE-433F2FC44E94}">
      <dgm:prSet phldrT="[Text]" custT="1"/>
      <dgm:spPr/>
      <dgm:t>
        <a:bodyPr/>
        <a:lstStyle/>
        <a:p>
          <a:pPr algn="l"/>
          <a:r>
            <a:rPr lang="en-US" sz="1600" dirty="0"/>
            <a:t>VMMC</a:t>
          </a:r>
        </a:p>
      </dgm:t>
    </dgm:pt>
    <dgm:pt modelId="{0D70AE19-026D-4AB7-8349-ED26261ECCFB}" type="parTrans" cxnId="{695DC4B0-81AD-4AA0-80A0-097E2C550716}">
      <dgm:prSet/>
      <dgm:spPr/>
      <dgm:t>
        <a:bodyPr/>
        <a:lstStyle/>
        <a:p>
          <a:endParaRPr lang="en-US"/>
        </a:p>
      </dgm:t>
    </dgm:pt>
    <dgm:pt modelId="{16E62BC0-F488-4393-9643-15D27C3EC9F3}" type="sibTrans" cxnId="{695DC4B0-81AD-4AA0-80A0-097E2C550716}">
      <dgm:prSet/>
      <dgm:spPr/>
      <dgm:t>
        <a:bodyPr/>
        <a:lstStyle/>
        <a:p>
          <a:endParaRPr lang="en-US"/>
        </a:p>
      </dgm:t>
    </dgm:pt>
    <dgm:pt modelId="{DA627E48-C331-4448-AF46-8128423A24EE}">
      <dgm:prSet phldrT="[Text]" custT="1"/>
      <dgm:spPr/>
      <dgm:t>
        <a:bodyPr/>
        <a:lstStyle/>
        <a:p>
          <a:pPr algn="l"/>
          <a:r>
            <a:rPr lang="en-US" sz="1600" dirty="0"/>
            <a:t>PMTCT</a:t>
          </a:r>
        </a:p>
      </dgm:t>
    </dgm:pt>
    <dgm:pt modelId="{3B47C876-86CD-4DDA-8AA4-7BAC75837729}" type="parTrans" cxnId="{FC69F419-9761-4351-AC3F-F16C4B9A2AFB}">
      <dgm:prSet/>
      <dgm:spPr/>
      <dgm:t>
        <a:bodyPr/>
        <a:lstStyle/>
        <a:p>
          <a:endParaRPr lang="en-US"/>
        </a:p>
      </dgm:t>
    </dgm:pt>
    <dgm:pt modelId="{1BE8DBAF-ED2D-4271-BBD0-E11BAD329F77}" type="sibTrans" cxnId="{FC69F419-9761-4351-AC3F-F16C4B9A2AFB}">
      <dgm:prSet/>
      <dgm:spPr/>
      <dgm:t>
        <a:bodyPr/>
        <a:lstStyle/>
        <a:p>
          <a:endParaRPr lang="en-US"/>
        </a:p>
      </dgm:t>
    </dgm:pt>
    <dgm:pt modelId="{F0654974-D637-43C9-A722-84DE93A04EC9}">
      <dgm:prSet phldrT="[Text]" custT="1"/>
      <dgm:spPr/>
      <dgm:t>
        <a:bodyPr/>
        <a:lstStyle/>
        <a:p>
          <a:r>
            <a:rPr lang="en-US" sz="1600" dirty="0"/>
            <a:t>Sexuality education</a:t>
          </a:r>
        </a:p>
      </dgm:t>
    </dgm:pt>
    <dgm:pt modelId="{F0557F0C-C82D-47E6-8D78-3D179118DD3A}" type="parTrans" cxnId="{90FD5B63-4276-4667-A02B-E14D075458D9}">
      <dgm:prSet/>
      <dgm:spPr/>
      <dgm:t>
        <a:bodyPr/>
        <a:lstStyle/>
        <a:p>
          <a:endParaRPr lang="en-US"/>
        </a:p>
      </dgm:t>
    </dgm:pt>
    <dgm:pt modelId="{5154879B-79E1-4683-A15A-267FE8F8A78F}" type="sibTrans" cxnId="{90FD5B63-4276-4667-A02B-E14D075458D9}">
      <dgm:prSet/>
      <dgm:spPr/>
      <dgm:t>
        <a:bodyPr/>
        <a:lstStyle/>
        <a:p>
          <a:endParaRPr lang="en-US"/>
        </a:p>
      </dgm:t>
    </dgm:pt>
    <dgm:pt modelId="{6986CD6F-3BB0-40CB-9502-3090BBA7BAB1}">
      <dgm:prSet phldrT="[Text]" custT="1"/>
      <dgm:spPr/>
      <dgm:t>
        <a:bodyPr/>
        <a:lstStyle/>
        <a:p>
          <a:r>
            <a:rPr lang="en-US" sz="1600" dirty="0"/>
            <a:t>Economic empowerment</a:t>
          </a:r>
        </a:p>
      </dgm:t>
    </dgm:pt>
    <dgm:pt modelId="{3905DF51-1716-47B4-AFFC-7378B51C817D}" type="parTrans" cxnId="{730DA4E4-956E-4EAC-8226-5E18131A4A0D}">
      <dgm:prSet/>
      <dgm:spPr/>
      <dgm:t>
        <a:bodyPr/>
        <a:lstStyle/>
        <a:p>
          <a:endParaRPr lang="en-US"/>
        </a:p>
      </dgm:t>
    </dgm:pt>
    <dgm:pt modelId="{1F27AD0E-6CFA-4CFD-85DB-DF414058D75C}" type="sibTrans" cxnId="{730DA4E4-956E-4EAC-8226-5E18131A4A0D}">
      <dgm:prSet/>
      <dgm:spPr/>
      <dgm:t>
        <a:bodyPr/>
        <a:lstStyle/>
        <a:p>
          <a:endParaRPr lang="en-US"/>
        </a:p>
      </dgm:t>
    </dgm:pt>
    <dgm:pt modelId="{438B087C-6E5D-4C37-A02E-A8E848778E54}">
      <dgm:prSet phldrT="[Text]" custT="1"/>
      <dgm:spPr/>
      <dgm:t>
        <a:bodyPr/>
        <a:lstStyle/>
        <a:p>
          <a:pPr algn="l"/>
          <a:r>
            <a:rPr lang="en-US" sz="1600" dirty="0"/>
            <a:t>PrEP</a:t>
          </a:r>
        </a:p>
      </dgm:t>
    </dgm:pt>
    <dgm:pt modelId="{4E9996C6-FF2C-4C8C-893C-1CA27CB7AF33}" type="parTrans" cxnId="{6611D0E8-2686-4AAB-98E8-F7A58EFF5AD0}">
      <dgm:prSet/>
      <dgm:spPr/>
      <dgm:t>
        <a:bodyPr/>
        <a:lstStyle/>
        <a:p>
          <a:endParaRPr lang="en-US"/>
        </a:p>
      </dgm:t>
    </dgm:pt>
    <dgm:pt modelId="{3C09869D-383F-4808-8125-64053F22736F}" type="sibTrans" cxnId="{6611D0E8-2686-4AAB-98E8-F7A58EFF5AD0}">
      <dgm:prSet/>
      <dgm:spPr/>
      <dgm:t>
        <a:bodyPr/>
        <a:lstStyle/>
        <a:p>
          <a:endParaRPr lang="en-US"/>
        </a:p>
      </dgm:t>
    </dgm:pt>
    <dgm:pt modelId="{868BDA3B-D076-4190-B6ED-8328129685C6}" type="pres">
      <dgm:prSet presAssocID="{93B11DE7-33B4-4F7D-89B5-8A64ADECF8B9}" presName="Name0" presStyleCnt="0">
        <dgm:presLayoutVars>
          <dgm:dir/>
          <dgm:animLvl val="lvl"/>
          <dgm:resizeHandles val="exact"/>
        </dgm:presLayoutVars>
      </dgm:prSet>
      <dgm:spPr/>
    </dgm:pt>
    <dgm:pt modelId="{A95043F9-0BA6-414D-B308-9BFF94BFB593}" type="pres">
      <dgm:prSet presAssocID="{DD5F39AF-1ECA-4A26-B80F-E30F5D435DED}" presName="composite" presStyleCnt="0"/>
      <dgm:spPr/>
    </dgm:pt>
    <dgm:pt modelId="{951C482B-9241-4E3B-8CAC-1D61C89EE112}" type="pres">
      <dgm:prSet presAssocID="{DD5F39AF-1ECA-4A26-B80F-E30F5D435DED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DCC0850F-CB00-45AA-83EA-549EBE32D38B}" type="pres">
      <dgm:prSet presAssocID="{DD5F39AF-1ECA-4A26-B80F-E30F5D435DED}" presName="desTx" presStyleLbl="alignAccFollowNode1" presStyleIdx="0" presStyleCnt="2">
        <dgm:presLayoutVars>
          <dgm:bulletEnabled val="1"/>
        </dgm:presLayoutVars>
      </dgm:prSet>
      <dgm:spPr/>
    </dgm:pt>
    <dgm:pt modelId="{23B272E7-D60D-4078-BA3C-2AAB0CDA0633}" type="pres">
      <dgm:prSet presAssocID="{4384F4B6-E615-4049-972E-1C03D0A152F1}" presName="space" presStyleCnt="0"/>
      <dgm:spPr/>
    </dgm:pt>
    <dgm:pt modelId="{9E95BE31-559F-4DFA-A39D-1ACB10EEB214}" type="pres">
      <dgm:prSet presAssocID="{95977DCE-E5B8-4F8B-9AF4-E5D9C06F6B93}" presName="composite" presStyleCnt="0"/>
      <dgm:spPr/>
    </dgm:pt>
    <dgm:pt modelId="{B0DB1CB4-F96C-4185-AE58-5B7BFF6E8D06}" type="pres">
      <dgm:prSet presAssocID="{95977DCE-E5B8-4F8B-9AF4-E5D9C06F6B93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1DB27703-422F-431E-A122-2B4989BC183B}" type="pres">
      <dgm:prSet presAssocID="{95977DCE-E5B8-4F8B-9AF4-E5D9C06F6B93}" presName="desTx" presStyleLbl="alignAccFollowNode1" presStyleIdx="1" presStyleCnt="2" custScaleX="100541">
        <dgm:presLayoutVars>
          <dgm:bulletEnabled val="1"/>
        </dgm:presLayoutVars>
      </dgm:prSet>
      <dgm:spPr/>
    </dgm:pt>
  </dgm:ptLst>
  <dgm:cxnLst>
    <dgm:cxn modelId="{58E80603-5F6E-43A7-ADCE-D24070C491F6}" srcId="{93B11DE7-33B4-4F7D-89B5-8A64ADECF8B9}" destId="{DD5F39AF-1ECA-4A26-B80F-E30F5D435DED}" srcOrd="0" destOrd="0" parTransId="{999A3760-398E-4E00-9604-67A60DF6D929}" sibTransId="{4384F4B6-E615-4049-972E-1C03D0A152F1}"/>
    <dgm:cxn modelId="{A05B4A0C-08A3-4870-9626-1F2E677FA4FC}" type="presOf" srcId="{438B087C-6E5D-4C37-A02E-A8E848778E54}" destId="{1DB27703-422F-431E-A122-2B4989BC183B}" srcOrd="0" destOrd="3" presId="urn:microsoft.com/office/officeart/2005/8/layout/hList1"/>
    <dgm:cxn modelId="{FC69F419-9761-4351-AC3F-F16C4B9A2AFB}" srcId="{95977DCE-E5B8-4F8B-9AF4-E5D9C06F6B93}" destId="{DA627E48-C331-4448-AF46-8128423A24EE}" srcOrd="2" destOrd="0" parTransId="{3B47C876-86CD-4DDA-8AA4-7BAC75837729}" sibTransId="{1BE8DBAF-ED2D-4271-BBD0-E11BAD329F77}"/>
    <dgm:cxn modelId="{0D43711D-5E3D-4FE1-92DA-1E2C33FD3226}" type="presOf" srcId="{96703736-6277-4767-B511-2F6C7FBD65DA}" destId="{1DB27703-422F-431E-A122-2B4989BC183B}" srcOrd="0" destOrd="0" presId="urn:microsoft.com/office/officeart/2005/8/layout/hList1"/>
    <dgm:cxn modelId="{593B9024-D878-4BEF-847A-A65CB7E92DD9}" type="presOf" srcId="{93B11DE7-33B4-4F7D-89B5-8A64ADECF8B9}" destId="{868BDA3B-D076-4190-B6ED-8328129685C6}" srcOrd="0" destOrd="0" presId="urn:microsoft.com/office/officeart/2005/8/layout/hList1"/>
    <dgm:cxn modelId="{CD243933-5FF6-4EA6-B91C-C967232594BB}" type="presOf" srcId="{95977DCE-E5B8-4F8B-9AF4-E5D9C06F6B93}" destId="{B0DB1CB4-F96C-4185-AE58-5B7BFF6E8D06}" srcOrd="0" destOrd="0" presId="urn:microsoft.com/office/officeart/2005/8/layout/hList1"/>
    <dgm:cxn modelId="{A889015D-98FA-45CA-BFB0-D25119E0CFD3}" srcId="{95977DCE-E5B8-4F8B-9AF4-E5D9C06F6B93}" destId="{96703736-6277-4767-B511-2F6C7FBD65DA}" srcOrd="0" destOrd="0" parTransId="{FC099852-40AC-44BF-B543-F68E070FD0A6}" sibTransId="{FD97E473-C238-45A6-BC97-E4AD4A50C224}"/>
    <dgm:cxn modelId="{90FD5B63-4276-4667-A02B-E14D075458D9}" srcId="{DD5F39AF-1ECA-4A26-B80F-E30F5D435DED}" destId="{F0654974-D637-43C9-A722-84DE93A04EC9}" srcOrd="1" destOrd="0" parTransId="{F0557F0C-C82D-47E6-8D78-3D179118DD3A}" sibTransId="{5154879B-79E1-4683-A15A-267FE8F8A78F}"/>
    <dgm:cxn modelId="{B4017F63-5680-4379-9781-8E3FDD77E6E1}" type="presOf" srcId="{CCADA2D4-8F15-4BAD-B74E-B08ADC0112F8}" destId="{DCC0850F-CB00-45AA-83EA-549EBE32D38B}" srcOrd="0" destOrd="0" presId="urn:microsoft.com/office/officeart/2005/8/layout/hList1"/>
    <dgm:cxn modelId="{09211964-50FA-42E9-944E-82E1D1191B7C}" srcId="{93B11DE7-33B4-4F7D-89B5-8A64ADECF8B9}" destId="{95977DCE-E5B8-4F8B-9AF4-E5D9C06F6B93}" srcOrd="1" destOrd="0" parTransId="{784DD6F2-ADC6-455F-8E68-0F9963A18B77}" sibTransId="{2241AA57-CBA1-418A-B91C-670EA2266D8E}"/>
    <dgm:cxn modelId="{5ACB8F53-1C88-41C6-A713-5435C589AEA5}" type="presOf" srcId="{6986CD6F-3BB0-40CB-9502-3090BBA7BAB1}" destId="{DCC0850F-CB00-45AA-83EA-549EBE32D38B}" srcOrd="0" destOrd="2" presId="urn:microsoft.com/office/officeart/2005/8/layout/hList1"/>
    <dgm:cxn modelId="{3DB5A280-CBFA-40DE-B5B2-580865E4EBF3}" type="presOf" srcId="{DD5F39AF-1ECA-4A26-B80F-E30F5D435DED}" destId="{951C482B-9241-4E3B-8CAC-1D61C89EE112}" srcOrd="0" destOrd="0" presId="urn:microsoft.com/office/officeart/2005/8/layout/hList1"/>
    <dgm:cxn modelId="{241CDC87-FB8E-458E-A11D-B6DC5D7D82CA}" srcId="{DD5F39AF-1ECA-4A26-B80F-E30F5D435DED}" destId="{CCADA2D4-8F15-4BAD-B74E-B08ADC0112F8}" srcOrd="0" destOrd="0" parTransId="{09D7CAC0-AD8C-4CF6-987A-EEDE7AB6E179}" sibTransId="{FCC4C462-9C47-4F69-A324-B93E42C5664E}"/>
    <dgm:cxn modelId="{1032FFA8-9426-4921-ADA9-4224270ECCE2}" type="presOf" srcId="{DA627E48-C331-4448-AF46-8128423A24EE}" destId="{1DB27703-422F-431E-A122-2B4989BC183B}" srcOrd="0" destOrd="2" presId="urn:microsoft.com/office/officeart/2005/8/layout/hList1"/>
    <dgm:cxn modelId="{695DC4B0-81AD-4AA0-80A0-097E2C550716}" srcId="{95977DCE-E5B8-4F8B-9AF4-E5D9C06F6B93}" destId="{CDC6C20F-DBA1-4D5B-B8FE-433F2FC44E94}" srcOrd="1" destOrd="0" parTransId="{0D70AE19-026D-4AB7-8349-ED26261ECCFB}" sibTransId="{16E62BC0-F488-4393-9643-15D27C3EC9F3}"/>
    <dgm:cxn modelId="{730DA4E4-956E-4EAC-8226-5E18131A4A0D}" srcId="{DD5F39AF-1ECA-4A26-B80F-E30F5D435DED}" destId="{6986CD6F-3BB0-40CB-9502-3090BBA7BAB1}" srcOrd="2" destOrd="0" parTransId="{3905DF51-1716-47B4-AFFC-7378B51C817D}" sibTransId="{1F27AD0E-6CFA-4CFD-85DB-DF414058D75C}"/>
    <dgm:cxn modelId="{6611D0E8-2686-4AAB-98E8-F7A58EFF5AD0}" srcId="{95977DCE-E5B8-4F8B-9AF4-E5D9C06F6B93}" destId="{438B087C-6E5D-4C37-A02E-A8E848778E54}" srcOrd="3" destOrd="0" parTransId="{4E9996C6-FF2C-4C8C-893C-1CA27CB7AF33}" sibTransId="{3C09869D-383F-4808-8125-64053F22736F}"/>
    <dgm:cxn modelId="{0D0C4FEF-36CB-4804-AE65-ED69015C5CBE}" type="presOf" srcId="{F0654974-D637-43C9-A722-84DE93A04EC9}" destId="{DCC0850F-CB00-45AA-83EA-549EBE32D38B}" srcOrd="0" destOrd="1" presId="urn:microsoft.com/office/officeart/2005/8/layout/hList1"/>
    <dgm:cxn modelId="{1D9138F3-B795-4C47-B285-FA8C53F647E9}" type="presOf" srcId="{CDC6C20F-DBA1-4D5B-B8FE-433F2FC44E94}" destId="{1DB27703-422F-431E-A122-2B4989BC183B}" srcOrd="0" destOrd="1" presId="urn:microsoft.com/office/officeart/2005/8/layout/hList1"/>
    <dgm:cxn modelId="{159D6824-4FC2-4228-A9EF-0987D1F89BB9}" type="presParOf" srcId="{868BDA3B-D076-4190-B6ED-8328129685C6}" destId="{A95043F9-0BA6-414D-B308-9BFF94BFB593}" srcOrd="0" destOrd="0" presId="urn:microsoft.com/office/officeart/2005/8/layout/hList1"/>
    <dgm:cxn modelId="{706D7680-5FDA-4018-A6AD-64B3DF7DCFD3}" type="presParOf" srcId="{A95043F9-0BA6-414D-B308-9BFF94BFB593}" destId="{951C482B-9241-4E3B-8CAC-1D61C89EE112}" srcOrd="0" destOrd="0" presId="urn:microsoft.com/office/officeart/2005/8/layout/hList1"/>
    <dgm:cxn modelId="{450664BA-7413-4F0F-BE2B-F443F5BB801D}" type="presParOf" srcId="{A95043F9-0BA6-414D-B308-9BFF94BFB593}" destId="{DCC0850F-CB00-45AA-83EA-549EBE32D38B}" srcOrd="1" destOrd="0" presId="urn:microsoft.com/office/officeart/2005/8/layout/hList1"/>
    <dgm:cxn modelId="{1842B84C-7C2D-4713-87BE-A702E8848826}" type="presParOf" srcId="{868BDA3B-D076-4190-B6ED-8328129685C6}" destId="{23B272E7-D60D-4078-BA3C-2AAB0CDA0633}" srcOrd="1" destOrd="0" presId="urn:microsoft.com/office/officeart/2005/8/layout/hList1"/>
    <dgm:cxn modelId="{31190916-E952-4E85-A6A7-61CA9F17D0B2}" type="presParOf" srcId="{868BDA3B-D076-4190-B6ED-8328129685C6}" destId="{9E95BE31-559F-4DFA-A39D-1ACB10EEB214}" srcOrd="2" destOrd="0" presId="urn:microsoft.com/office/officeart/2005/8/layout/hList1"/>
    <dgm:cxn modelId="{40D3199D-36B8-4DD4-839F-0D85BE83EE00}" type="presParOf" srcId="{9E95BE31-559F-4DFA-A39D-1ACB10EEB214}" destId="{B0DB1CB4-F96C-4185-AE58-5B7BFF6E8D06}" srcOrd="0" destOrd="0" presId="urn:microsoft.com/office/officeart/2005/8/layout/hList1"/>
    <dgm:cxn modelId="{27C924C1-DB8A-40F9-A8B3-D2C2398520C6}" type="presParOf" srcId="{9E95BE31-559F-4DFA-A39D-1ACB10EEB214}" destId="{1DB27703-422F-431E-A122-2B4989BC18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58E81C4-FF25-4B8A-AC72-678ED7D614BF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D5522F78-50E0-4EEA-84DC-93864BE8290B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800" dirty="0"/>
            <a:t>Pop Group</a:t>
          </a:r>
          <a:endParaRPr lang="en-US" sz="1200" dirty="0"/>
        </a:p>
        <a:p>
          <a:r>
            <a:rPr lang="en-US" sz="1200" dirty="0"/>
            <a:t>Faithful </a:t>
          </a:r>
        </a:p>
        <a:p>
          <a:r>
            <a:rPr lang="en-US" sz="1200" dirty="0"/>
            <a:t>AGYW/ABYM</a:t>
          </a:r>
        </a:p>
        <a:p>
          <a:r>
            <a:rPr lang="en-US" sz="1200" dirty="0"/>
            <a:t>Casual partnerships</a:t>
          </a:r>
        </a:p>
        <a:p>
          <a:r>
            <a:rPr lang="en-US" sz="1200" dirty="0"/>
            <a:t>Sex workers/clients</a:t>
          </a:r>
        </a:p>
        <a:p>
          <a:r>
            <a:rPr lang="en-US" sz="1200" dirty="0"/>
            <a:t>MSM</a:t>
          </a:r>
        </a:p>
        <a:p>
          <a:r>
            <a:rPr lang="en-US" sz="1200" dirty="0"/>
            <a:t>PWID</a:t>
          </a:r>
        </a:p>
      </dgm:t>
    </dgm:pt>
    <dgm:pt modelId="{46C4EF77-FF61-4E10-91F8-BAAB058F99D1}" type="parTrans" cxnId="{CBEF0447-9F82-4043-B7C3-C17D09F9E765}">
      <dgm:prSet/>
      <dgm:spPr/>
      <dgm:t>
        <a:bodyPr/>
        <a:lstStyle/>
        <a:p>
          <a:endParaRPr lang="en-US"/>
        </a:p>
      </dgm:t>
    </dgm:pt>
    <dgm:pt modelId="{1C4FBD1D-044C-436E-9C5F-24ABBCB3C9EE}" type="sibTrans" cxnId="{CBEF0447-9F82-4043-B7C3-C17D09F9E765}">
      <dgm:prSet/>
      <dgm:spPr/>
      <dgm:t>
        <a:bodyPr/>
        <a:lstStyle/>
        <a:p>
          <a:endParaRPr lang="en-US"/>
        </a:p>
      </dgm:t>
    </dgm:pt>
    <dgm:pt modelId="{4935B277-C5EB-4DA4-B52C-2F5025E5F7BF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600" dirty="0"/>
            <a:t>Behavior</a:t>
          </a:r>
        </a:p>
        <a:p>
          <a:r>
            <a:rPr lang="en-US" sz="1200" dirty="0"/>
            <a:t># partners</a:t>
          </a:r>
        </a:p>
        <a:p>
          <a:r>
            <a:rPr lang="en-US" sz="1200" dirty="0"/>
            <a:t>Acts/partner</a:t>
          </a:r>
        </a:p>
        <a:p>
          <a:r>
            <a:rPr lang="en-US" sz="1200" dirty="0"/>
            <a:t>Condom use</a:t>
          </a:r>
        </a:p>
        <a:p>
          <a:r>
            <a:rPr lang="en-US" sz="1200" dirty="0"/>
            <a:t>Age at 1</a:t>
          </a:r>
          <a:r>
            <a:rPr lang="en-US" sz="1200" baseline="30000" dirty="0"/>
            <a:t>st</a:t>
          </a:r>
          <a:r>
            <a:rPr lang="en-US" sz="1200" dirty="0"/>
            <a:t> sex</a:t>
          </a:r>
        </a:p>
        <a:p>
          <a:r>
            <a:rPr lang="en-US" sz="1200" dirty="0"/>
            <a:t>Needle sharing</a:t>
          </a:r>
        </a:p>
      </dgm:t>
    </dgm:pt>
    <dgm:pt modelId="{539C0C49-EAB7-4767-97B5-75212CA18F9B}" type="parTrans" cxnId="{D7E610D8-EB21-4A72-980A-CC3E77F4DDDC}">
      <dgm:prSet/>
      <dgm:spPr/>
      <dgm:t>
        <a:bodyPr/>
        <a:lstStyle/>
        <a:p>
          <a:endParaRPr lang="en-US"/>
        </a:p>
      </dgm:t>
    </dgm:pt>
    <dgm:pt modelId="{1FD3FF65-6EDA-41FE-8659-03C8CAC731DD}" type="sibTrans" cxnId="{D7E610D8-EB21-4A72-980A-CC3E77F4DDDC}">
      <dgm:prSet/>
      <dgm:spPr/>
      <dgm:t>
        <a:bodyPr/>
        <a:lstStyle/>
        <a:p>
          <a:endParaRPr lang="en-US"/>
        </a:p>
      </dgm:t>
    </dgm:pt>
    <dgm:pt modelId="{AC2CF1D7-B8BD-48A0-9AE6-D4AAA5EDB9C2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1600" dirty="0"/>
            <a:t>Type of Transmission</a:t>
          </a:r>
        </a:p>
        <a:p>
          <a:r>
            <a:rPr lang="en-US" sz="1300" dirty="0"/>
            <a:t>Sex</a:t>
          </a:r>
        </a:p>
        <a:p>
          <a:r>
            <a:rPr lang="en-US" sz="1300" dirty="0"/>
            <a:t>Needle</a:t>
          </a:r>
        </a:p>
        <a:p>
          <a:r>
            <a:rPr lang="en-US" sz="1300" dirty="0"/>
            <a:t>Blood</a:t>
          </a:r>
        </a:p>
        <a:p>
          <a:r>
            <a:rPr lang="en-US" sz="1300" dirty="0"/>
            <a:t>MTCT</a:t>
          </a:r>
        </a:p>
      </dgm:t>
    </dgm:pt>
    <dgm:pt modelId="{B8FABD35-9030-4BC3-88F4-BC1F1761B086}" type="parTrans" cxnId="{0CBFBDA5-B168-4D97-9376-2121B339E911}">
      <dgm:prSet/>
      <dgm:spPr/>
      <dgm:t>
        <a:bodyPr/>
        <a:lstStyle/>
        <a:p>
          <a:endParaRPr lang="en-US"/>
        </a:p>
      </dgm:t>
    </dgm:pt>
    <dgm:pt modelId="{9445BCD4-A049-4AF8-B07D-DD515CFFD594}" type="sibTrans" cxnId="{0CBFBDA5-B168-4D97-9376-2121B339E911}">
      <dgm:prSet/>
      <dgm:spPr/>
      <dgm:t>
        <a:bodyPr/>
        <a:lstStyle/>
        <a:p>
          <a:endParaRPr lang="en-US"/>
        </a:p>
      </dgm:t>
    </dgm:pt>
    <dgm:pt modelId="{A0F3A019-AD2E-4653-B83D-96FCCE5BCCA7}">
      <dgm:prSet/>
      <dgm:spPr>
        <a:solidFill>
          <a:schemeClr val="tx2"/>
        </a:solidFill>
      </dgm:spPr>
      <dgm:t>
        <a:bodyPr/>
        <a:lstStyle/>
        <a:p>
          <a:r>
            <a:rPr lang="en-US" dirty="0"/>
            <a:t>Probability of Transmission</a:t>
          </a:r>
        </a:p>
      </dgm:t>
    </dgm:pt>
    <dgm:pt modelId="{55E5DEA0-324C-4E08-A473-EBDD17ED714A}" type="parTrans" cxnId="{809037B8-1920-4369-AF58-175D244CE494}">
      <dgm:prSet/>
      <dgm:spPr/>
      <dgm:t>
        <a:bodyPr/>
        <a:lstStyle/>
        <a:p>
          <a:endParaRPr lang="en-US"/>
        </a:p>
      </dgm:t>
    </dgm:pt>
    <dgm:pt modelId="{9D883A93-E1B3-4BA4-888B-2D0E9ED1C372}" type="sibTrans" cxnId="{809037B8-1920-4369-AF58-175D244CE494}">
      <dgm:prSet/>
      <dgm:spPr/>
      <dgm:t>
        <a:bodyPr/>
        <a:lstStyle/>
        <a:p>
          <a:endParaRPr lang="en-US"/>
        </a:p>
      </dgm:t>
    </dgm:pt>
    <dgm:pt modelId="{54D5A8B9-BFE0-43CC-9853-792702870F1C}">
      <dgm:prSet/>
      <dgm:spPr>
        <a:solidFill>
          <a:schemeClr val="tx2"/>
        </a:solidFill>
      </dgm:spPr>
      <dgm:t>
        <a:bodyPr/>
        <a:lstStyle/>
        <a:p>
          <a:r>
            <a:rPr lang="en-US" dirty="0"/>
            <a:t>New HIV Infections</a:t>
          </a:r>
        </a:p>
      </dgm:t>
    </dgm:pt>
    <dgm:pt modelId="{A8AD1E06-03CC-49ED-879D-A031D1105A77}" type="parTrans" cxnId="{95FC6347-A791-4A5F-8526-DD4800437019}">
      <dgm:prSet/>
      <dgm:spPr/>
      <dgm:t>
        <a:bodyPr/>
        <a:lstStyle/>
        <a:p>
          <a:endParaRPr lang="en-US"/>
        </a:p>
      </dgm:t>
    </dgm:pt>
    <dgm:pt modelId="{D9073537-70EF-4D91-8470-E38E9FE9410D}" type="sibTrans" cxnId="{95FC6347-A791-4A5F-8526-DD4800437019}">
      <dgm:prSet/>
      <dgm:spPr/>
      <dgm:t>
        <a:bodyPr/>
        <a:lstStyle/>
        <a:p>
          <a:endParaRPr lang="en-US"/>
        </a:p>
      </dgm:t>
    </dgm:pt>
    <dgm:pt modelId="{094FE72C-AC7B-469F-A82C-D8B688B5E36F}" type="pres">
      <dgm:prSet presAssocID="{658E81C4-FF25-4B8A-AC72-678ED7D614BF}" presName="CompostProcess" presStyleCnt="0">
        <dgm:presLayoutVars>
          <dgm:dir/>
          <dgm:resizeHandles val="exact"/>
        </dgm:presLayoutVars>
      </dgm:prSet>
      <dgm:spPr/>
    </dgm:pt>
    <dgm:pt modelId="{AA922E4B-1622-4871-A1D0-483511AD9ABC}" type="pres">
      <dgm:prSet presAssocID="{658E81C4-FF25-4B8A-AC72-678ED7D614BF}" presName="arrow" presStyleLbl="bgShp" presStyleIdx="0" presStyleCnt="1"/>
      <dgm:spPr/>
    </dgm:pt>
    <dgm:pt modelId="{7D7C467E-3E3A-4C1A-B0ED-15BA014307A9}" type="pres">
      <dgm:prSet presAssocID="{658E81C4-FF25-4B8A-AC72-678ED7D614BF}" presName="linearProcess" presStyleCnt="0"/>
      <dgm:spPr/>
    </dgm:pt>
    <dgm:pt modelId="{2B1CCC5B-94D4-419C-816D-F9481AECA6A3}" type="pres">
      <dgm:prSet presAssocID="{D5522F78-50E0-4EEA-84DC-93864BE8290B}" presName="textNode" presStyleLbl="node1" presStyleIdx="0" presStyleCnt="5">
        <dgm:presLayoutVars>
          <dgm:bulletEnabled val="1"/>
        </dgm:presLayoutVars>
      </dgm:prSet>
      <dgm:spPr/>
    </dgm:pt>
    <dgm:pt modelId="{75E7527A-523D-498D-ADFC-1A368FE3A5DE}" type="pres">
      <dgm:prSet presAssocID="{1C4FBD1D-044C-436E-9C5F-24ABBCB3C9EE}" presName="sibTrans" presStyleCnt="0"/>
      <dgm:spPr/>
    </dgm:pt>
    <dgm:pt modelId="{BF154371-FFBC-4426-BB91-CCD0AE596E9B}" type="pres">
      <dgm:prSet presAssocID="{4935B277-C5EB-4DA4-B52C-2F5025E5F7BF}" presName="textNode" presStyleLbl="node1" presStyleIdx="1" presStyleCnt="5">
        <dgm:presLayoutVars>
          <dgm:bulletEnabled val="1"/>
        </dgm:presLayoutVars>
      </dgm:prSet>
      <dgm:spPr/>
    </dgm:pt>
    <dgm:pt modelId="{DCFB99C4-7D8E-4E03-88E5-6120FD86A5CB}" type="pres">
      <dgm:prSet presAssocID="{1FD3FF65-6EDA-41FE-8659-03C8CAC731DD}" presName="sibTrans" presStyleCnt="0"/>
      <dgm:spPr/>
    </dgm:pt>
    <dgm:pt modelId="{F624644D-70C1-4B84-84D6-9F8C7AC5ABB5}" type="pres">
      <dgm:prSet presAssocID="{AC2CF1D7-B8BD-48A0-9AE6-D4AAA5EDB9C2}" presName="textNode" presStyleLbl="node1" presStyleIdx="2" presStyleCnt="5">
        <dgm:presLayoutVars>
          <dgm:bulletEnabled val="1"/>
        </dgm:presLayoutVars>
      </dgm:prSet>
      <dgm:spPr/>
    </dgm:pt>
    <dgm:pt modelId="{C86B3C5F-41ED-4F88-86B1-9E543BFAD6FC}" type="pres">
      <dgm:prSet presAssocID="{9445BCD4-A049-4AF8-B07D-DD515CFFD594}" presName="sibTrans" presStyleCnt="0"/>
      <dgm:spPr/>
    </dgm:pt>
    <dgm:pt modelId="{3A0F8FE4-283F-421D-A563-C962902BBF98}" type="pres">
      <dgm:prSet presAssocID="{A0F3A019-AD2E-4653-B83D-96FCCE5BCCA7}" presName="textNode" presStyleLbl="node1" presStyleIdx="3" presStyleCnt="5">
        <dgm:presLayoutVars>
          <dgm:bulletEnabled val="1"/>
        </dgm:presLayoutVars>
      </dgm:prSet>
      <dgm:spPr/>
    </dgm:pt>
    <dgm:pt modelId="{01E3D735-7DED-4F84-BCC9-F8E084D262D3}" type="pres">
      <dgm:prSet presAssocID="{9D883A93-E1B3-4BA4-888B-2D0E9ED1C372}" presName="sibTrans" presStyleCnt="0"/>
      <dgm:spPr/>
    </dgm:pt>
    <dgm:pt modelId="{87620C8E-D7AA-4D75-85FD-6A218C33441B}" type="pres">
      <dgm:prSet presAssocID="{54D5A8B9-BFE0-43CC-9853-792702870F1C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285ECC01-2B87-4144-9A88-6148E746F83F}" type="presOf" srcId="{54D5A8B9-BFE0-43CC-9853-792702870F1C}" destId="{87620C8E-D7AA-4D75-85FD-6A218C33441B}" srcOrd="0" destOrd="0" presId="urn:microsoft.com/office/officeart/2005/8/layout/hProcess9"/>
    <dgm:cxn modelId="{534B9240-26E4-41E4-934C-6E12EEEBA127}" type="presOf" srcId="{658E81C4-FF25-4B8A-AC72-678ED7D614BF}" destId="{094FE72C-AC7B-469F-A82C-D8B688B5E36F}" srcOrd="0" destOrd="0" presId="urn:microsoft.com/office/officeart/2005/8/layout/hProcess9"/>
    <dgm:cxn modelId="{CBEF0447-9F82-4043-B7C3-C17D09F9E765}" srcId="{658E81C4-FF25-4B8A-AC72-678ED7D614BF}" destId="{D5522F78-50E0-4EEA-84DC-93864BE8290B}" srcOrd="0" destOrd="0" parTransId="{46C4EF77-FF61-4E10-91F8-BAAB058F99D1}" sibTransId="{1C4FBD1D-044C-436E-9C5F-24ABBCB3C9EE}"/>
    <dgm:cxn modelId="{95FC6347-A791-4A5F-8526-DD4800437019}" srcId="{658E81C4-FF25-4B8A-AC72-678ED7D614BF}" destId="{54D5A8B9-BFE0-43CC-9853-792702870F1C}" srcOrd="4" destOrd="0" parTransId="{A8AD1E06-03CC-49ED-879D-A031D1105A77}" sibTransId="{D9073537-70EF-4D91-8470-E38E9FE9410D}"/>
    <dgm:cxn modelId="{9C1F988F-1E09-4888-8A5F-BB84547C33F5}" type="presOf" srcId="{D5522F78-50E0-4EEA-84DC-93864BE8290B}" destId="{2B1CCC5B-94D4-419C-816D-F9481AECA6A3}" srcOrd="0" destOrd="0" presId="urn:microsoft.com/office/officeart/2005/8/layout/hProcess9"/>
    <dgm:cxn modelId="{0CBFBDA5-B168-4D97-9376-2121B339E911}" srcId="{658E81C4-FF25-4B8A-AC72-678ED7D614BF}" destId="{AC2CF1D7-B8BD-48A0-9AE6-D4AAA5EDB9C2}" srcOrd="2" destOrd="0" parTransId="{B8FABD35-9030-4BC3-88F4-BC1F1761B086}" sibTransId="{9445BCD4-A049-4AF8-B07D-DD515CFFD594}"/>
    <dgm:cxn modelId="{809037B8-1920-4369-AF58-175D244CE494}" srcId="{658E81C4-FF25-4B8A-AC72-678ED7D614BF}" destId="{A0F3A019-AD2E-4653-B83D-96FCCE5BCCA7}" srcOrd="3" destOrd="0" parTransId="{55E5DEA0-324C-4E08-A473-EBDD17ED714A}" sibTransId="{9D883A93-E1B3-4BA4-888B-2D0E9ED1C372}"/>
    <dgm:cxn modelId="{0904A5C9-6660-4101-B8B1-72F539E9040F}" type="presOf" srcId="{AC2CF1D7-B8BD-48A0-9AE6-D4AAA5EDB9C2}" destId="{F624644D-70C1-4B84-84D6-9F8C7AC5ABB5}" srcOrd="0" destOrd="0" presId="urn:microsoft.com/office/officeart/2005/8/layout/hProcess9"/>
    <dgm:cxn modelId="{564170CC-F9E0-4ED9-ADF6-ED6467AAA7D7}" type="presOf" srcId="{4935B277-C5EB-4DA4-B52C-2F5025E5F7BF}" destId="{BF154371-FFBC-4426-BB91-CCD0AE596E9B}" srcOrd="0" destOrd="0" presId="urn:microsoft.com/office/officeart/2005/8/layout/hProcess9"/>
    <dgm:cxn modelId="{D7E610D8-EB21-4A72-980A-CC3E77F4DDDC}" srcId="{658E81C4-FF25-4B8A-AC72-678ED7D614BF}" destId="{4935B277-C5EB-4DA4-B52C-2F5025E5F7BF}" srcOrd="1" destOrd="0" parTransId="{539C0C49-EAB7-4767-97B5-75212CA18F9B}" sibTransId="{1FD3FF65-6EDA-41FE-8659-03C8CAC731DD}"/>
    <dgm:cxn modelId="{E50A3CF2-853E-442E-A7CC-12D3A20BA892}" type="presOf" srcId="{A0F3A019-AD2E-4653-B83D-96FCCE5BCCA7}" destId="{3A0F8FE4-283F-421D-A563-C962902BBF98}" srcOrd="0" destOrd="0" presId="urn:microsoft.com/office/officeart/2005/8/layout/hProcess9"/>
    <dgm:cxn modelId="{6C82417F-8111-4F47-9B42-79850819537A}" type="presParOf" srcId="{094FE72C-AC7B-469F-A82C-D8B688B5E36F}" destId="{AA922E4B-1622-4871-A1D0-483511AD9ABC}" srcOrd="0" destOrd="0" presId="urn:microsoft.com/office/officeart/2005/8/layout/hProcess9"/>
    <dgm:cxn modelId="{860314EF-4385-49F0-9EB5-74F24B1C4A35}" type="presParOf" srcId="{094FE72C-AC7B-469F-A82C-D8B688B5E36F}" destId="{7D7C467E-3E3A-4C1A-B0ED-15BA014307A9}" srcOrd="1" destOrd="0" presId="urn:microsoft.com/office/officeart/2005/8/layout/hProcess9"/>
    <dgm:cxn modelId="{A4B93A7B-5A7A-4787-A878-A401F875FD46}" type="presParOf" srcId="{7D7C467E-3E3A-4C1A-B0ED-15BA014307A9}" destId="{2B1CCC5B-94D4-419C-816D-F9481AECA6A3}" srcOrd="0" destOrd="0" presId="urn:microsoft.com/office/officeart/2005/8/layout/hProcess9"/>
    <dgm:cxn modelId="{A8887DC9-7ECD-4192-9B8B-4F06BE90926A}" type="presParOf" srcId="{7D7C467E-3E3A-4C1A-B0ED-15BA014307A9}" destId="{75E7527A-523D-498D-ADFC-1A368FE3A5DE}" srcOrd="1" destOrd="0" presId="urn:microsoft.com/office/officeart/2005/8/layout/hProcess9"/>
    <dgm:cxn modelId="{5993F920-1C57-4366-9479-38E8B19EB6F8}" type="presParOf" srcId="{7D7C467E-3E3A-4C1A-B0ED-15BA014307A9}" destId="{BF154371-FFBC-4426-BB91-CCD0AE596E9B}" srcOrd="2" destOrd="0" presId="urn:microsoft.com/office/officeart/2005/8/layout/hProcess9"/>
    <dgm:cxn modelId="{E2F24257-D91E-4D7F-85BD-52C59772FCA4}" type="presParOf" srcId="{7D7C467E-3E3A-4C1A-B0ED-15BA014307A9}" destId="{DCFB99C4-7D8E-4E03-88E5-6120FD86A5CB}" srcOrd="3" destOrd="0" presId="urn:microsoft.com/office/officeart/2005/8/layout/hProcess9"/>
    <dgm:cxn modelId="{CF86A20B-C91B-400D-8772-70A47FE10880}" type="presParOf" srcId="{7D7C467E-3E3A-4C1A-B0ED-15BA014307A9}" destId="{F624644D-70C1-4B84-84D6-9F8C7AC5ABB5}" srcOrd="4" destOrd="0" presId="urn:microsoft.com/office/officeart/2005/8/layout/hProcess9"/>
    <dgm:cxn modelId="{26550304-3506-4A1F-9C6E-C7E745498D1D}" type="presParOf" srcId="{7D7C467E-3E3A-4C1A-B0ED-15BA014307A9}" destId="{C86B3C5F-41ED-4F88-86B1-9E543BFAD6FC}" srcOrd="5" destOrd="0" presId="urn:microsoft.com/office/officeart/2005/8/layout/hProcess9"/>
    <dgm:cxn modelId="{0A5C4AAC-4D99-41C1-AE3F-7B489C5D1884}" type="presParOf" srcId="{7D7C467E-3E3A-4C1A-B0ED-15BA014307A9}" destId="{3A0F8FE4-283F-421D-A563-C962902BBF98}" srcOrd="6" destOrd="0" presId="urn:microsoft.com/office/officeart/2005/8/layout/hProcess9"/>
    <dgm:cxn modelId="{46881BEA-FCFD-426C-8542-5C6349B44707}" type="presParOf" srcId="{7D7C467E-3E3A-4C1A-B0ED-15BA014307A9}" destId="{01E3D735-7DED-4F84-BCC9-F8E084D262D3}" srcOrd="7" destOrd="0" presId="urn:microsoft.com/office/officeart/2005/8/layout/hProcess9"/>
    <dgm:cxn modelId="{C545B822-6648-48EC-AB04-B83893738E59}" type="presParOf" srcId="{7D7C467E-3E3A-4C1A-B0ED-15BA014307A9}" destId="{87620C8E-D7AA-4D75-85FD-6A218C33441B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3B11DE7-33B4-4F7D-89B5-8A64ADECF8B9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977DCE-E5B8-4F8B-9AF4-E5D9C06F6B93}">
      <dgm:prSet phldrT="[Text]" custT="1"/>
      <dgm:spPr/>
      <dgm:t>
        <a:bodyPr/>
        <a:lstStyle/>
        <a:p>
          <a:r>
            <a:rPr lang="en-US" sz="1400" dirty="0"/>
            <a:t>Biomedical</a:t>
          </a:r>
          <a:endParaRPr lang="en-US" sz="1000" dirty="0"/>
        </a:p>
      </dgm:t>
    </dgm:pt>
    <dgm:pt modelId="{784DD6F2-ADC6-455F-8E68-0F9963A18B77}" type="parTrans" cxnId="{09211964-50FA-42E9-944E-82E1D1191B7C}">
      <dgm:prSet/>
      <dgm:spPr/>
      <dgm:t>
        <a:bodyPr/>
        <a:lstStyle/>
        <a:p>
          <a:endParaRPr lang="en-US"/>
        </a:p>
      </dgm:t>
    </dgm:pt>
    <dgm:pt modelId="{2241AA57-CBA1-418A-B91C-670EA2266D8E}" type="sibTrans" cxnId="{09211964-50FA-42E9-944E-82E1D1191B7C}">
      <dgm:prSet/>
      <dgm:spPr/>
      <dgm:t>
        <a:bodyPr/>
        <a:lstStyle/>
        <a:p>
          <a:endParaRPr lang="en-US"/>
        </a:p>
      </dgm:t>
    </dgm:pt>
    <dgm:pt modelId="{96703736-6277-4767-B511-2F6C7FBD65DA}">
      <dgm:prSet phldrT="[Text]" custT="1"/>
      <dgm:spPr/>
      <dgm:t>
        <a:bodyPr/>
        <a:lstStyle/>
        <a:p>
          <a:pPr algn="l"/>
          <a:r>
            <a:rPr lang="en-US" sz="1600" dirty="0"/>
            <a:t>Condoms</a:t>
          </a:r>
        </a:p>
      </dgm:t>
    </dgm:pt>
    <dgm:pt modelId="{FC099852-40AC-44BF-B543-F68E070FD0A6}" type="parTrans" cxnId="{A889015D-98FA-45CA-BFB0-D25119E0CFD3}">
      <dgm:prSet/>
      <dgm:spPr/>
      <dgm:t>
        <a:bodyPr/>
        <a:lstStyle/>
        <a:p>
          <a:endParaRPr lang="en-US"/>
        </a:p>
      </dgm:t>
    </dgm:pt>
    <dgm:pt modelId="{FD97E473-C238-45A6-BC97-E4AD4A50C224}" type="sibTrans" cxnId="{A889015D-98FA-45CA-BFB0-D25119E0CFD3}">
      <dgm:prSet/>
      <dgm:spPr/>
      <dgm:t>
        <a:bodyPr/>
        <a:lstStyle/>
        <a:p>
          <a:endParaRPr lang="en-US"/>
        </a:p>
      </dgm:t>
    </dgm:pt>
    <dgm:pt modelId="{DD5F39AF-1ECA-4A26-B80F-E30F5D435DED}">
      <dgm:prSet phldrT="[Text]" custT="1"/>
      <dgm:spPr/>
      <dgm:t>
        <a:bodyPr/>
        <a:lstStyle/>
        <a:p>
          <a:r>
            <a:rPr lang="en-US" sz="1400" dirty="0"/>
            <a:t>Behavior Change</a:t>
          </a:r>
          <a:endParaRPr lang="en-US" sz="1000" dirty="0"/>
        </a:p>
      </dgm:t>
    </dgm:pt>
    <dgm:pt modelId="{4384F4B6-E615-4049-972E-1C03D0A152F1}" type="sibTrans" cxnId="{58E80603-5F6E-43A7-ADCE-D24070C491F6}">
      <dgm:prSet/>
      <dgm:spPr/>
      <dgm:t>
        <a:bodyPr/>
        <a:lstStyle/>
        <a:p>
          <a:endParaRPr lang="en-US"/>
        </a:p>
      </dgm:t>
    </dgm:pt>
    <dgm:pt modelId="{999A3760-398E-4E00-9604-67A60DF6D929}" type="parTrans" cxnId="{58E80603-5F6E-43A7-ADCE-D24070C491F6}">
      <dgm:prSet/>
      <dgm:spPr/>
      <dgm:t>
        <a:bodyPr/>
        <a:lstStyle/>
        <a:p>
          <a:endParaRPr lang="en-US"/>
        </a:p>
      </dgm:t>
    </dgm:pt>
    <dgm:pt modelId="{CCADA2D4-8F15-4BAD-B74E-B08ADC0112F8}">
      <dgm:prSet phldrT="[Text]" custT="1"/>
      <dgm:spPr/>
      <dgm:t>
        <a:bodyPr/>
        <a:lstStyle/>
        <a:p>
          <a:r>
            <a:rPr lang="en-US" sz="1600" dirty="0"/>
            <a:t>Outreach</a:t>
          </a:r>
        </a:p>
      </dgm:t>
    </dgm:pt>
    <dgm:pt modelId="{FCC4C462-9C47-4F69-A324-B93E42C5664E}" type="sibTrans" cxnId="{241CDC87-FB8E-458E-A11D-B6DC5D7D82CA}">
      <dgm:prSet/>
      <dgm:spPr/>
      <dgm:t>
        <a:bodyPr/>
        <a:lstStyle/>
        <a:p>
          <a:endParaRPr lang="en-US"/>
        </a:p>
      </dgm:t>
    </dgm:pt>
    <dgm:pt modelId="{09D7CAC0-AD8C-4CF6-987A-EEDE7AB6E179}" type="parTrans" cxnId="{241CDC87-FB8E-458E-A11D-B6DC5D7D82CA}">
      <dgm:prSet/>
      <dgm:spPr/>
      <dgm:t>
        <a:bodyPr/>
        <a:lstStyle/>
        <a:p>
          <a:endParaRPr lang="en-US"/>
        </a:p>
      </dgm:t>
    </dgm:pt>
    <dgm:pt modelId="{CDC6C20F-DBA1-4D5B-B8FE-433F2FC44E94}">
      <dgm:prSet phldrT="[Text]" custT="1"/>
      <dgm:spPr/>
      <dgm:t>
        <a:bodyPr/>
        <a:lstStyle/>
        <a:p>
          <a:pPr algn="l"/>
          <a:r>
            <a:rPr lang="en-US" sz="1600" dirty="0"/>
            <a:t>VMMC</a:t>
          </a:r>
        </a:p>
      </dgm:t>
    </dgm:pt>
    <dgm:pt modelId="{0D70AE19-026D-4AB7-8349-ED26261ECCFB}" type="parTrans" cxnId="{695DC4B0-81AD-4AA0-80A0-097E2C550716}">
      <dgm:prSet/>
      <dgm:spPr/>
      <dgm:t>
        <a:bodyPr/>
        <a:lstStyle/>
        <a:p>
          <a:endParaRPr lang="en-US"/>
        </a:p>
      </dgm:t>
    </dgm:pt>
    <dgm:pt modelId="{16E62BC0-F488-4393-9643-15D27C3EC9F3}" type="sibTrans" cxnId="{695DC4B0-81AD-4AA0-80A0-097E2C550716}">
      <dgm:prSet/>
      <dgm:spPr/>
      <dgm:t>
        <a:bodyPr/>
        <a:lstStyle/>
        <a:p>
          <a:endParaRPr lang="en-US"/>
        </a:p>
      </dgm:t>
    </dgm:pt>
    <dgm:pt modelId="{DA627E48-C331-4448-AF46-8128423A24EE}">
      <dgm:prSet phldrT="[Text]" custT="1"/>
      <dgm:spPr/>
      <dgm:t>
        <a:bodyPr/>
        <a:lstStyle/>
        <a:p>
          <a:pPr algn="l"/>
          <a:r>
            <a:rPr lang="en-US" sz="1600" dirty="0"/>
            <a:t>PMTCT</a:t>
          </a:r>
        </a:p>
      </dgm:t>
    </dgm:pt>
    <dgm:pt modelId="{3B47C876-86CD-4DDA-8AA4-7BAC75837729}" type="parTrans" cxnId="{FC69F419-9761-4351-AC3F-F16C4B9A2AFB}">
      <dgm:prSet/>
      <dgm:spPr/>
      <dgm:t>
        <a:bodyPr/>
        <a:lstStyle/>
        <a:p>
          <a:endParaRPr lang="en-US"/>
        </a:p>
      </dgm:t>
    </dgm:pt>
    <dgm:pt modelId="{1BE8DBAF-ED2D-4271-BBD0-E11BAD329F77}" type="sibTrans" cxnId="{FC69F419-9761-4351-AC3F-F16C4B9A2AFB}">
      <dgm:prSet/>
      <dgm:spPr/>
      <dgm:t>
        <a:bodyPr/>
        <a:lstStyle/>
        <a:p>
          <a:endParaRPr lang="en-US"/>
        </a:p>
      </dgm:t>
    </dgm:pt>
    <dgm:pt modelId="{7A0E14DD-1889-441B-87EF-965B5C54FF7A}">
      <dgm:prSet custT="1"/>
      <dgm:spPr/>
      <dgm:t>
        <a:bodyPr/>
        <a:lstStyle/>
        <a:p>
          <a:r>
            <a:rPr lang="en-US" sz="1600" dirty="0"/>
            <a:t>Sexuality education</a:t>
          </a:r>
        </a:p>
      </dgm:t>
    </dgm:pt>
    <dgm:pt modelId="{016EAA4E-40AC-4B38-B81E-E2A5EA54F770}" type="parTrans" cxnId="{9C6A1211-FC9C-4372-BE78-35AD920E6E03}">
      <dgm:prSet/>
      <dgm:spPr/>
      <dgm:t>
        <a:bodyPr/>
        <a:lstStyle/>
        <a:p>
          <a:endParaRPr lang="en-US"/>
        </a:p>
      </dgm:t>
    </dgm:pt>
    <dgm:pt modelId="{DEBFA7C5-0251-41DC-8F5E-0DFA6127137A}" type="sibTrans" cxnId="{9C6A1211-FC9C-4372-BE78-35AD920E6E03}">
      <dgm:prSet/>
      <dgm:spPr/>
      <dgm:t>
        <a:bodyPr/>
        <a:lstStyle/>
        <a:p>
          <a:endParaRPr lang="en-US"/>
        </a:p>
      </dgm:t>
    </dgm:pt>
    <dgm:pt modelId="{835AC901-4909-4BFA-A7D5-20C5B1D8F357}">
      <dgm:prSet custT="1"/>
      <dgm:spPr/>
      <dgm:t>
        <a:bodyPr/>
        <a:lstStyle/>
        <a:p>
          <a:r>
            <a:rPr lang="en-US" sz="1600" dirty="0"/>
            <a:t>Economic empowerment</a:t>
          </a:r>
          <a:endParaRPr lang="en-US" sz="500" dirty="0"/>
        </a:p>
      </dgm:t>
    </dgm:pt>
    <dgm:pt modelId="{62A671A9-DC8D-41BC-84F4-2144BD86A023}" type="parTrans" cxnId="{96C69DAD-9CBC-41B9-A95C-0F1E4C9D1DEF}">
      <dgm:prSet/>
      <dgm:spPr/>
      <dgm:t>
        <a:bodyPr/>
        <a:lstStyle/>
        <a:p>
          <a:endParaRPr lang="en-US"/>
        </a:p>
      </dgm:t>
    </dgm:pt>
    <dgm:pt modelId="{A1523E8A-D5F3-4D08-8EA9-E8ABA28AD382}" type="sibTrans" cxnId="{96C69DAD-9CBC-41B9-A95C-0F1E4C9D1DEF}">
      <dgm:prSet/>
      <dgm:spPr/>
      <dgm:t>
        <a:bodyPr/>
        <a:lstStyle/>
        <a:p>
          <a:endParaRPr lang="en-US"/>
        </a:p>
      </dgm:t>
    </dgm:pt>
    <dgm:pt modelId="{E071E43E-ECFC-4583-9B18-C2DBE203EEFE}">
      <dgm:prSet phldrT="[Text]" custT="1"/>
      <dgm:spPr/>
      <dgm:t>
        <a:bodyPr/>
        <a:lstStyle/>
        <a:p>
          <a:pPr algn="l"/>
          <a:r>
            <a:rPr lang="en-US" sz="1600" dirty="0"/>
            <a:t>PrEP</a:t>
          </a:r>
        </a:p>
      </dgm:t>
    </dgm:pt>
    <dgm:pt modelId="{BB840458-36AD-48E4-A9D4-522D3C1FEB2D}" type="parTrans" cxnId="{B0A4509D-985E-4EBA-9638-3CFE1785AFCA}">
      <dgm:prSet/>
      <dgm:spPr/>
      <dgm:t>
        <a:bodyPr/>
        <a:lstStyle/>
        <a:p>
          <a:endParaRPr lang="en-US"/>
        </a:p>
      </dgm:t>
    </dgm:pt>
    <dgm:pt modelId="{90030A6C-BC46-491C-842C-072FE1D06D5A}" type="sibTrans" cxnId="{B0A4509D-985E-4EBA-9638-3CFE1785AFCA}">
      <dgm:prSet/>
      <dgm:spPr/>
      <dgm:t>
        <a:bodyPr/>
        <a:lstStyle/>
        <a:p>
          <a:endParaRPr lang="en-US"/>
        </a:p>
      </dgm:t>
    </dgm:pt>
    <dgm:pt modelId="{868BDA3B-D076-4190-B6ED-8328129685C6}" type="pres">
      <dgm:prSet presAssocID="{93B11DE7-33B4-4F7D-89B5-8A64ADECF8B9}" presName="Name0" presStyleCnt="0">
        <dgm:presLayoutVars>
          <dgm:dir/>
          <dgm:animLvl val="lvl"/>
          <dgm:resizeHandles val="exact"/>
        </dgm:presLayoutVars>
      </dgm:prSet>
      <dgm:spPr/>
    </dgm:pt>
    <dgm:pt modelId="{A95043F9-0BA6-414D-B308-9BFF94BFB593}" type="pres">
      <dgm:prSet presAssocID="{DD5F39AF-1ECA-4A26-B80F-E30F5D435DED}" presName="composite" presStyleCnt="0"/>
      <dgm:spPr/>
    </dgm:pt>
    <dgm:pt modelId="{951C482B-9241-4E3B-8CAC-1D61C89EE112}" type="pres">
      <dgm:prSet presAssocID="{DD5F39AF-1ECA-4A26-B80F-E30F5D435DED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DCC0850F-CB00-45AA-83EA-549EBE32D38B}" type="pres">
      <dgm:prSet presAssocID="{DD5F39AF-1ECA-4A26-B80F-E30F5D435DED}" presName="desTx" presStyleLbl="alignAccFollowNode1" presStyleIdx="0" presStyleCnt="2">
        <dgm:presLayoutVars>
          <dgm:bulletEnabled val="1"/>
        </dgm:presLayoutVars>
      </dgm:prSet>
      <dgm:spPr/>
    </dgm:pt>
    <dgm:pt modelId="{23B272E7-D60D-4078-BA3C-2AAB0CDA0633}" type="pres">
      <dgm:prSet presAssocID="{4384F4B6-E615-4049-972E-1C03D0A152F1}" presName="space" presStyleCnt="0"/>
      <dgm:spPr/>
    </dgm:pt>
    <dgm:pt modelId="{9E95BE31-559F-4DFA-A39D-1ACB10EEB214}" type="pres">
      <dgm:prSet presAssocID="{95977DCE-E5B8-4F8B-9AF4-E5D9C06F6B93}" presName="composite" presStyleCnt="0"/>
      <dgm:spPr/>
    </dgm:pt>
    <dgm:pt modelId="{B0DB1CB4-F96C-4185-AE58-5B7BFF6E8D06}" type="pres">
      <dgm:prSet presAssocID="{95977DCE-E5B8-4F8B-9AF4-E5D9C06F6B93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1DB27703-422F-431E-A122-2B4989BC183B}" type="pres">
      <dgm:prSet presAssocID="{95977DCE-E5B8-4F8B-9AF4-E5D9C06F6B93}" presName="desTx" presStyleLbl="alignAccFollowNode1" presStyleIdx="1" presStyleCnt="2" custScaleX="100541">
        <dgm:presLayoutVars>
          <dgm:bulletEnabled val="1"/>
        </dgm:presLayoutVars>
      </dgm:prSet>
      <dgm:spPr/>
    </dgm:pt>
  </dgm:ptLst>
  <dgm:cxnLst>
    <dgm:cxn modelId="{58E80603-5F6E-43A7-ADCE-D24070C491F6}" srcId="{93B11DE7-33B4-4F7D-89B5-8A64ADECF8B9}" destId="{DD5F39AF-1ECA-4A26-B80F-E30F5D435DED}" srcOrd="0" destOrd="0" parTransId="{999A3760-398E-4E00-9604-67A60DF6D929}" sibTransId="{4384F4B6-E615-4049-972E-1C03D0A152F1}"/>
    <dgm:cxn modelId="{5A2B4A05-C574-4C95-9686-C3A43510C944}" type="presOf" srcId="{835AC901-4909-4BFA-A7D5-20C5B1D8F357}" destId="{DCC0850F-CB00-45AA-83EA-549EBE32D38B}" srcOrd="0" destOrd="2" presId="urn:microsoft.com/office/officeart/2005/8/layout/hList1"/>
    <dgm:cxn modelId="{9C6A1211-FC9C-4372-BE78-35AD920E6E03}" srcId="{DD5F39AF-1ECA-4A26-B80F-E30F5D435DED}" destId="{7A0E14DD-1889-441B-87EF-965B5C54FF7A}" srcOrd="1" destOrd="0" parTransId="{016EAA4E-40AC-4B38-B81E-E2A5EA54F770}" sibTransId="{DEBFA7C5-0251-41DC-8F5E-0DFA6127137A}"/>
    <dgm:cxn modelId="{FC69F419-9761-4351-AC3F-F16C4B9A2AFB}" srcId="{95977DCE-E5B8-4F8B-9AF4-E5D9C06F6B93}" destId="{DA627E48-C331-4448-AF46-8128423A24EE}" srcOrd="2" destOrd="0" parTransId="{3B47C876-86CD-4DDA-8AA4-7BAC75837729}" sibTransId="{1BE8DBAF-ED2D-4271-BBD0-E11BAD329F77}"/>
    <dgm:cxn modelId="{0D43711D-5E3D-4FE1-92DA-1E2C33FD3226}" type="presOf" srcId="{96703736-6277-4767-B511-2F6C7FBD65DA}" destId="{1DB27703-422F-431E-A122-2B4989BC183B}" srcOrd="0" destOrd="0" presId="urn:microsoft.com/office/officeart/2005/8/layout/hList1"/>
    <dgm:cxn modelId="{593B9024-D878-4BEF-847A-A65CB7E92DD9}" type="presOf" srcId="{93B11DE7-33B4-4F7D-89B5-8A64ADECF8B9}" destId="{868BDA3B-D076-4190-B6ED-8328129685C6}" srcOrd="0" destOrd="0" presId="urn:microsoft.com/office/officeart/2005/8/layout/hList1"/>
    <dgm:cxn modelId="{CD243933-5FF6-4EA6-B91C-C967232594BB}" type="presOf" srcId="{95977DCE-E5B8-4F8B-9AF4-E5D9C06F6B93}" destId="{B0DB1CB4-F96C-4185-AE58-5B7BFF6E8D06}" srcOrd="0" destOrd="0" presId="urn:microsoft.com/office/officeart/2005/8/layout/hList1"/>
    <dgm:cxn modelId="{A889015D-98FA-45CA-BFB0-D25119E0CFD3}" srcId="{95977DCE-E5B8-4F8B-9AF4-E5D9C06F6B93}" destId="{96703736-6277-4767-B511-2F6C7FBD65DA}" srcOrd="0" destOrd="0" parTransId="{FC099852-40AC-44BF-B543-F68E070FD0A6}" sibTransId="{FD97E473-C238-45A6-BC97-E4AD4A50C224}"/>
    <dgm:cxn modelId="{B4017F63-5680-4379-9781-8E3FDD77E6E1}" type="presOf" srcId="{CCADA2D4-8F15-4BAD-B74E-B08ADC0112F8}" destId="{DCC0850F-CB00-45AA-83EA-549EBE32D38B}" srcOrd="0" destOrd="0" presId="urn:microsoft.com/office/officeart/2005/8/layout/hList1"/>
    <dgm:cxn modelId="{09211964-50FA-42E9-944E-82E1D1191B7C}" srcId="{93B11DE7-33B4-4F7D-89B5-8A64ADECF8B9}" destId="{95977DCE-E5B8-4F8B-9AF4-E5D9C06F6B93}" srcOrd="1" destOrd="0" parTransId="{784DD6F2-ADC6-455F-8E68-0F9963A18B77}" sibTransId="{2241AA57-CBA1-418A-B91C-670EA2266D8E}"/>
    <dgm:cxn modelId="{26C2F264-1FA8-451E-8853-6500D28ABD01}" type="presOf" srcId="{7A0E14DD-1889-441B-87EF-965B5C54FF7A}" destId="{DCC0850F-CB00-45AA-83EA-549EBE32D38B}" srcOrd="0" destOrd="1" presId="urn:microsoft.com/office/officeart/2005/8/layout/hList1"/>
    <dgm:cxn modelId="{0BAAEB79-D6F7-4737-8095-99387A595726}" type="presOf" srcId="{E071E43E-ECFC-4583-9B18-C2DBE203EEFE}" destId="{1DB27703-422F-431E-A122-2B4989BC183B}" srcOrd="0" destOrd="3" presId="urn:microsoft.com/office/officeart/2005/8/layout/hList1"/>
    <dgm:cxn modelId="{3DB5A280-CBFA-40DE-B5B2-580865E4EBF3}" type="presOf" srcId="{DD5F39AF-1ECA-4A26-B80F-E30F5D435DED}" destId="{951C482B-9241-4E3B-8CAC-1D61C89EE112}" srcOrd="0" destOrd="0" presId="urn:microsoft.com/office/officeart/2005/8/layout/hList1"/>
    <dgm:cxn modelId="{241CDC87-FB8E-458E-A11D-B6DC5D7D82CA}" srcId="{DD5F39AF-1ECA-4A26-B80F-E30F5D435DED}" destId="{CCADA2D4-8F15-4BAD-B74E-B08ADC0112F8}" srcOrd="0" destOrd="0" parTransId="{09D7CAC0-AD8C-4CF6-987A-EEDE7AB6E179}" sibTransId="{FCC4C462-9C47-4F69-A324-B93E42C5664E}"/>
    <dgm:cxn modelId="{B0A4509D-985E-4EBA-9638-3CFE1785AFCA}" srcId="{95977DCE-E5B8-4F8B-9AF4-E5D9C06F6B93}" destId="{E071E43E-ECFC-4583-9B18-C2DBE203EEFE}" srcOrd="3" destOrd="0" parTransId="{BB840458-36AD-48E4-A9D4-522D3C1FEB2D}" sibTransId="{90030A6C-BC46-491C-842C-072FE1D06D5A}"/>
    <dgm:cxn modelId="{1032FFA8-9426-4921-ADA9-4224270ECCE2}" type="presOf" srcId="{DA627E48-C331-4448-AF46-8128423A24EE}" destId="{1DB27703-422F-431E-A122-2B4989BC183B}" srcOrd="0" destOrd="2" presId="urn:microsoft.com/office/officeart/2005/8/layout/hList1"/>
    <dgm:cxn modelId="{96C69DAD-9CBC-41B9-A95C-0F1E4C9D1DEF}" srcId="{DD5F39AF-1ECA-4A26-B80F-E30F5D435DED}" destId="{835AC901-4909-4BFA-A7D5-20C5B1D8F357}" srcOrd="2" destOrd="0" parTransId="{62A671A9-DC8D-41BC-84F4-2144BD86A023}" sibTransId="{A1523E8A-D5F3-4D08-8EA9-E8ABA28AD382}"/>
    <dgm:cxn modelId="{695DC4B0-81AD-4AA0-80A0-097E2C550716}" srcId="{95977DCE-E5B8-4F8B-9AF4-E5D9C06F6B93}" destId="{CDC6C20F-DBA1-4D5B-B8FE-433F2FC44E94}" srcOrd="1" destOrd="0" parTransId="{0D70AE19-026D-4AB7-8349-ED26261ECCFB}" sibTransId="{16E62BC0-F488-4393-9643-15D27C3EC9F3}"/>
    <dgm:cxn modelId="{1D9138F3-B795-4C47-B285-FA8C53F647E9}" type="presOf" srcId="{CDC6C20F-DBA1-4D5B-B8FE-433F2FC44E94}" destId="{1DB27703-422F-431E-A122-2B4989BC183B}" srcOrd="0" destOrd="1" presId="urn:microsoft.com/office/officeart/2005/8/layout/hList1"/>
    <dgm:cxn modelId="{159D6824-4FC2-4228-A9EF-0987D1F89BB9}" type="presParOf" srcId="{868BDA3B-D076-4190-B6ED-8328129685C6}" destId="{A95043F9-0BA6-414D-B308-9BFF94BFB593}" srcOrd="0" destOrd="0" presId="urn:microsoft.com/office/officeart/2005/8/layout/hList1"/>
    <dgm:cxn modelId="{706D7680-5FDA-4018-A6AD-64B3DF7DCFD3}" type="presParOf" srcId="{A95043F9-0BA6-414D-B308-9BFF94BFB593}" destId="{951C482B-9241-4E3B-8CAC-1D61C89EE112}" srcOrd="0" destOrd="0" presId="urn:microsoft.com/office/officeart/2005/8/layout/hList1"/>
    <dgm:cxn modelId="{450664BA-7413-4F0F-BE2B-F443F5BB801D}" type="presParOf" srcId="{A95043F9-0BA6-414D-B308-9BFF94BFB593}" destId="{DCC0850F-CB00-45AA-83EA-549EBE32D38B}" srcOrd="1" destOrd="0" presId="urn:microsoft.com/office/officeart/2005/8/layout/hList1"/>
    <dgm:cxn modelId="{1842B84C-7C2D-4713-87BE-A702E8848826}" type="presParOf" srcId="{868BDA3B-D076-4190-B6ED-8328129685C6}" destId="{23B272E7-D60D-4078-BA3C-2AAB0CDA0633}" srcOrd="1" destOrd="0" presId="urn:microsoft.com/office/officeart/2005/8/layout/hList1"/>
    <dgm:cxn modelId="{31190916-E952-4E85-A6A7-61CA9F17D0B2}" type="presParOf" srcId="{868BDA3B-D076-4190-B6ED-8328129685C6}" destId="{9E95BE31-559F-4DFA-A39D-1ACB10EEB214}" srcOrd="2" destOrd="0" presId="urn:microsoft.com/office/officeart/2005/8/layout/hList1"/>
    <dgm:cxn modelId="{40D3199D-36B8-4DD4-839F-0D85BE83EE00}" type="presParOf" srcId="{9E95BE31-559F-4DFA-A39D-1ACB10EEB214}" destId="{B0DB1CB4-F96C-4185-AE58-5B7BFF6E8D06}" srcOrd="0" destOrd="0" presId="urn:microsoft.com/office/officeart/2005/8/layout/hList1"/>
    <dgm:cxn modelId="{27C924C1-DB8A-40F9-A8B3-D2C2398520C6}" type="presParOf" srcId="{9E95BE31-559F-4DFA-A39D-1ACB10EEB214}" destId="{1DB27703-422F-431E-A122-2B4989BC18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C98F74C-9BC0-40C8-835D-8CA2EC556DAB}" type="doc">
      <dgm:prSet loTypeId="urn:microsoft.com/office/officeart/2008/layout/Lin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C394F6B-E08F-4AA5-8793-B698E8A5A200}">
      <dgm:prSet/>
      <dgm:spPr/>
      <dgm:t>
        <a:bodyPr/>
        <a:lstStyle/>
        <a:p>
          <a:r>
            <a:rPr lang="en-US"/>
            <a:t>Population group</a:t>
          </a:r>
        </a:p>
      </dgm:t>
    </dgm:pt>
    <dgm:pt modelId="{C6C23BE4-AEC9-4723-ACF5-1C481847CE2E}" type="parTrans" cxnId="{A85F2531-7A36-4378-B7A8-5C10FBBBDDA9}">
      <dgm:prSet/>
      <dgm:spPr/>
      <dgm:t>
        <a:bodyPr/>
        <a:lstStyle/>
        <a:p>
          <a:endParaRPr lang="en-US"/>
        </a:p>
      </dgm:t>
    </dgm:pt>
    <dgm:pt modelId="{7C2908C1-C329-45B1-82DC-EBEF0E97EFC5}" type="sibTrans" cxnId="{A85F2531-7A36-4378-B7A8-5C10FBBBDDA9}">
      <dgm:prSet/>
      <dgm:spPr/>
      <dgm:t>
        <a:bodyPr/>
        <a:lstStyle/>
        <a:p>
          <a:endParaRPr lang="en-US"/>
        </a:p>
      </dgm:t>
    </dgm:pt>
    <dgm:pt modelId="{014E6025-A8BD-4CD5-88D8-6DAFCC3FE13C}">
      <dgm:prSet/>
      <dgm:spPr/>
      <dgm:t>
        <a:bodyPr/>
        <a:lstStyle/>
        <a:p>
          <a:r>
            <a:rPr lang="en-US" dirty="0"/>
            <a:t>National or sub-national region</a:t>
          </a:r>
        </a:p>
      </dgm:t>
    </dgm:pt>
    <dgm:pt modelId="{EB3D6A04-5A40-47F4-84DD-436F7B7E2BF6}" type="parTrans" cxnId="{7EEEF3BF-B376-4E1D-98CB-61C4139CD58A}">
      <dgm:prSet/>
      <dgm:spPr/>
      <dgm:t>
        <a:bodyPr/>
        <a:lstStyle/>
        <a:p>
          <a:endParaRPr lang="en-US"/>
        </a:p>
      </dgm:t>
    </dgm:pt>
    <dgm:pt modelId="{76EA0824-25D0-4F6A-92B9-E264C2DD8FF0}" type="sibTrans" cxnId="{7EEEF3BF-B376-4E1D-98CB-61C4139CD58A}">
      <dgm:prSet/>
      <dgm:spPr/>
      <dgm:t>
        <a:bodyPr/>
        <a:lstStyle/>
        <a:p>
          <a:endParaRPr lang="en-US"/>
        </a:p>
      </dgm:t>
    </dgm:pt>
    <dgm:pt modelId="{3AC57E04-09E8-415F-845E-4CFCFAD156E7}">
      <dgm:prSet/>
      <dgm:spPr/>
      <dgm:t>
        <a:bodyPr/>
        <a:lstStyle/>
        <a:p>
          <a:r>
            <a:rPr lang="en-US"/>
            <a:t>Age</a:t>
          </a:r>
        </a:p>
      </dgm:t>
    </dgm:pt>
    <dgm:pt modelId="{196B2E7A-240C-4C1D-93BE-C97D9AE257E3}" type="parTrans" cxnId="{8889EF57-AF98-45DE-9647-1291DE23E7B1}">
      <dgm:prSet/>
      <dgm:spPr/>
      <dgm:t>
        <a:bodyPr/>
        <a:lstStyle/>
        <a:p>
          <a:endParaRPr lang="en-US"/>
        </a:p>
      </dgm:t>
    </dgm:pt>
    <dgm:pt modelId="{FE77AB27-F883-4B6E-BA36-AA41803FA892}" type="sibTrans" cxnId="{8889EF57-AF98-45DE-9647-1291DE23E7B1}">
      <dgm:prSet/>
      <dgm:spPr/>
      <dgm:t>
        <a:bodyPr/>
        <a:lstStyle/>
        <a:p>
          <a:endParaRPr lang="en-US"/>
        </a:p>
      </dgm:t>
    </dgm:pt>
    <dgm:pt modelId="{A4FED4B5-3EF5-4865-BA6A-75D10CD55819}" type="pres">
      <dgm:prSet presAssocID="{9C98F74C-9BC0-40C8-835D-8CA2EC556DAB}" presName="vert0" presStyleCnt="0">
        <dgm:presLayoutVars>
          <dgm:dir/>
          <dgm:animOne val="branch"/>
          <dgm:animLvl val="lvl"/>
        </dgm:presLayoutVars>
      </dgm:prSet>
      <dgm:spPr/>
    </dgm:pt>
    <dgm:pt modelId="{40F18B61-A076-48BA-92E1-3651DDC9F629}" type="pres">
      <dgm:prSet presAssocID="{7C394F6B-E08F-4AA5-8793-B698E8A5A200}" presName="thickLine" presStyleLbl="alignNode1" presStyleIdx="0" presStyleCnt="3"/>
      <dgm:spPr/>
    </dgm:pt>
    <dgm:pt modelId="{EC5455A4-E404-4019-987C-845333D58CD0}" type="pres">
      <dgm:prSet presAssocID="{7C394F6B-E08F-4AA5-8793-B698E8A5A200}" presName="horz1" presStyleCnt="0"/>
      <dgm:spPr/>
    </dgm:pt>
    <dgm:pt modelId="{94258E7E-3D5F-44E8-8E22-37E384B1FF54}" type="pres">
      <dgm:prSet presAssocID="{7C394F6B-E08F-4AA5-8793-B698E8A5A200}" presName="tx1" presStyleLbl="revTx" presStyleIdx="0" presStyleCnt="3"/>
      <dgm:spPr/>
    </dgm:pt>
    <dgm:pt modelId="{1B745E0A-0257-460B-9A86-F7FB2C1A979E}" type="pres">
      <dgm:prSet presAssocID="{7C394F6B-E08F-4AA5-8793-B698E8A5A200}" presName="vert1" presStyleCnt="0"/>
      <dgm:spPr/>
    </dgm:pt>
    <dgm:pt modelId="{E146C45C-6AC0-4219-9198-261E15B8621E}" type="pres">
      <dgm:prSet presAssocID="{014E6025-A8BD-4CD5-88D8-6DAFCC3FE13C}" presName="thickLine" presStyleLbl="alignNode1" presStyleIdx="1" presStyleCnt="3"/>
      <dgm:spPr/>
    </dgm:pt>
    <dgm:pt modelId="{5BF960B2-C37C-4D70-9AD1-CAB4802CA704}" type="pres">
      <dgm:prSet presAssocID="{014E6025-A8BD-4CD5-88D8-6DAFCC3FE13C}" presName="horz1" presStyleCnt="0"/>
      <dgm:spPr/>
    </dgm:pt>
    <dgm:pt modelId="{CDDC518C-89E8-471A-A4EE-C093FD4B99BE}" type="pres">
      <dgm:prSet presAssocID="{014E6025-A8BD-4CD5-88D8-6DAFCC3FE13C}" presName="tx1" presStyleLbl="revTx" presStyleIdx="1" presStyleCnt="3"/>
      <dgm:spPr/>
    </dgm:pt>
    <dgm:pt modelId="{8DCB4A0A-4303-4DFA-84FF-17F3503C8EF6}" type="pres">
      <dgm:prSet presAssocID="{014E6025-A8BD-4CD5-88D8-6DAFCC3FE13C}" presName="vert1" presStyleCnt="0"/>
      <dgm:spPr/>
    </dgm:pt>
    <dgm:pt modelId="{22714B10-0FD6-4E20-B976-52342A1928B8}" type="pres">
      <dgm:prSet presAssocID="{3AC57E04-09E8-415F-845E-4CFCFAD156E7}" presName="thickLine" presStyleLbl="alignNode1" presStyleIdx="2" presStyleCnt="3"/>
      <dgm:spPr/>
    </dgm:pt>
    <dgm:pt modelId="{49FCAA37-9701-4517-8C46-EB63B4AE4FEF}" type="pres">
      <dgm:prSet presAssocID="{3AC57E04-09E8-415F-845E-4CFCFAD156E7}" presName="horz1" presStyleCnt="0"/>
      <dgm:spPr/>
    </dgm:pt>
    <dgm:pt modelId="{570F56A4-7EBF-4C2E-93B6-D8A68AB063C3}" type="pres">
      <dgm:prSet presAssocID="{3AC57E04-09E8-415F-845E-4CFCFAD156E7}" presName="tx1" presStyleLbl="revTx" presStyleIdx="2" presStyleCnt="3"/>
      <dgm:spPr/>
    </dgm:pt>
    <dgm:pt modelId="{2E411B42-3E98-4E62-9389-58DEE7EA297E}" type="pres">
      <dgm:prSet presAssocID="{3AC57E04-09E8-415F-845E-4CFCFAD156E7}" presName="vert1" presStyleCnt="0"/>
      <dgm:spPr/>
    </dgm:pt>
  </dgm:ptLst>
  <dgm:cxnLst>
    <dgm:cxn modelId="{719B8224-698E-4848-A6C0-0475CFC20088}" type="presOf" srcId="{014E6025-A8BD-4CD5-88D8-6DAFCC3FE13C}" destId="{CDDC518C-89E8-471A-A4EE-C093FD4B99BE}" srcOrd="0" destOrd="0" presId="urn:microsoft.com/office/officeart/2008/layout/LinedList"/>
    <dgm:cxn modelId="{A9DEA82B-F3F4-4AC7-BFD6-67CE31F01CE5}" type="presOf" srcId="{7C394F6B-E08F-4AA5-8793-B698E8A5A200}" destId="{94258E7E-3D5F-44E8-8E22-37E384B1FF54}" srcOrd="0" destOrd="0" presId="urn:microsoft.com/office/officeart/2008/layout/LinedList"/>
    <dgm:cxn modelId="{A85F2531-7A36-4378-B7A8-5C10FBBBDDA9}" srcId="{9C98F74C-9BC0-40C8-835D-8CA2EC556DAB}" destId="{7C394F6B-E08F-4AA5-8793-B698E8A5A200}" srcOrd="0" destOrd="0" parTransId="{C6C23BE4-AEC9-4723-ACF5-1C481847CE2E}" sibTransId="{7C2908C1-C329-45B1-82DC-EBEF0E97EFC5}"/>
    <dgm:cxn modelId="{8889EF57-AF98-45DE-9647-1291DE23E7B1}" srcId="{9C98F74C-9BC0-40C8-835D-8CA2EC556DAB}" destId="{3AC57E04-09E8-415F-845E-4CFCFAD156E7}" srcOrd="2" destOrd="0" parTransId="{196B2E7A-240C-4C1D-93BE-C97D9AE257E3}" sibTransId="{FE77AB27-F883-4B6E-BA36-AA41803FA892}"/>
    <dgm:cxn modelId="{FF34B0A0-79BD-4850-8044-6AAC54D4394E}" type="presOf" srcId="{9C98F74C-9BC0-40C8-835D-8CA2EC556DAB}" destId="{A4FED4B5-3EF5-4865-BA6A-75D10CD55819}" srcOrd="0" destOrd="0" presId="urn:microsoft.com/office/officeart/2008/layout/LinedList"/>
    <dgm:cxn modelId="{E25235BB-8AE0-40CC-B7C3-31AA1DBFFAD2}" type="presOf" srcId="{3AC57E04-09E8-415F-845E-4CFCFAD156E7}" destId="{570F56A4-7EBF-4C2E-93B6-D8A68AB063C3}" srcOrd="0" destOrd="0" presId="urn:microsoft.com/office/officeart/2008/layout/LinedList"/>
    <dgm:cxn modelId="{7EEEF3BF-B376-4E1D-98CB-61C4139CD58A}" srcId="{9C98F74C-9BC0-40C8-835D-8CA2EC556DAB}" destId="{014E6025-A8BD-4CD5-88D8-6DAFCC3FE13C}" srcOrd="1" destOrd="0" parTransId="{EB3D6A04-5A40-47F4-84DD-436F7B7E2BF6}" sibTransId="{76EA0824-25D0-4F6A-92B9-E264C2DD8FF0}"/>
    <dgm:cxn modelId="{F0D94649-161D-4148-856A-11021AE64226}" type="presParOf" srcId="{A4FED4B5-3EF5-4865-BA6A-75D10CD55819}" destId="{40F18B61-A076-48BA-92E1-3651DDC9F629}" srcOrd="0" destOrd="0" presId="urn:microsoft.com/office/officeart/2008/layout/LinedList"/>
    <dgm:cxn modelId="{DEE3AB61-55ED-4FB6-9ED4-34C0061FC785}" type="presParOf" srcId="{A4FED4B5-3EF5-4865-BA6A-75D10CD55819}" destId="{EC5455A4-E404-4019-987C-845333D58CD0}" srcOrd="1" destOrd="0" presId="urn:microsoft.com/office/officeart/2008/layout/LinedList"/>
    <dgm:cxn modelId="{1E42CC91-3219-47F5-BEB0-BB6205FF3F4B}" type="presParOf" srcId="{EC5455A4-E404-4019-987C-845333D58CD0}" destId="{94258E7E-3D5F-44E8-8E22-37E384B1FF54}" srcOrd="0" destOrd="0" presId="urn:microsoft.com/office/officeart/2008/layout/LinedList"/>
    <dgm:cxn modelId="{34E42C7D-A7CB-4A9D-8305-1D1C0EB79331}" type="presParOf" srcId="{EC5455A4-E404-4019-987C-845333D58CD0}" destId="{1B745E0A-0257-460B-9A86-F7FB2C1A979E}" srcOrd="1" destOrd="0" presId="urn:microsoft.com/office/officeart/2008/layout/LinedList"/>
    <dgm:cxn modelId="{198700DF-0267-4DA0-8995-C8BA05660B32}" type="presParOf" srcId="{A4FED4B5-3EF5-4865-BA6A-75D10CD55819}" destId="{E146C45C-6AC0-4219-9198-261E15B8621E}" srcOrd="2" destOrd="0" presId="urn:microsoft.com/office/officeart/2008/layout/LinedList"/>
    <dgm:cxn modelId="{4613B4C1-F573-4CBA-A538-01CECBE4A47F}" type="presParOf" srcId="{A4FED4B5-3EF5-4865-BA6A-75D10CD55819}" destId="{5BF960B2-C37C-4D70-9AD1-CAB4802CA704}" srcOrd="3" destOrd="0" presId="urn:microsoft.com/office/officeart/2008/layout/LinedList"/>
    <dgm:cxn modelId="{568F04E0-8A36-4E49-A5E0-5A3946A11FFA}" type="presParOf" srcId="{5BF960B2-C37C-4D70-9AD1-CAB4802CA704}" destId="{CDDC518C-89E8-471A-A4EE-C093FD4B99BE}" srcOrd="0" destOrd="0" presId="urn:microsoft.com/office/officeart/2008/layout/LinedList"/>
    <dgm:cxn modelId="{C5C19756-633B-49D6-98AC-0AF700BEFD56}" type="presParOf" srcId="{5BF960B2-C37C-4D70-9AD1-CAB4802CA704}" destId="{8DCB4A0A-4303-4DFA-84FF-17F3503C8EF6}" srcOrd="1" destOrd="0" presId="urn:microsoft.com/office/officeart/2008/layout/LinedList"/>
    <dgm:cxn modelId="{5307EBC2-9AC1-4E50-A6DF-15473DFD0BAC}" type="presParOf" srcId="{A4FED4B5-3EF5-4865-BA6A-75D10CD55819}" destId="{22714B10-0FD6-4E20-B976-52342A1928B8}" srcOrd="4" destOrd="0" presId="urn:microsoft.com/office/officeart/2008/layout/LinedList"/>
    <dgm:cxn modelId="{D4EEFA35-80BA-42FE-9263-45E7FCD48D4B}" type="presParOf" srcId="{A4FED4B5-3EF5-4865-BA6A-75D10CD55819}" destId="{49FCAA37-9701-4517-8C46-EB63B4AE4FEF}" srcOrd="5" destOrd="0" presId="urn:microsoft.com/office/officeart/2008/layout/LinedList"/>
    <dgm:cxn modelId="{BEDB0FAA-3632-4D93-ADEC-2FB9A4BEBFC4}" type="presParOf" srcId="{49FCAA37-9701-4517-8C46-EB63B4AE4FEF}" destId="{570F56A4-7EBF-4C2E-93B6-D8A68AB063C3}" srcOrd="0" destOrd="0" presId="urn:microsoft.com/office/officeart/2008/layout/LinedList"/>
    <dgm:cxn modelId="{5ADA248A-3F9F-4D5B-8966-F3C0EDB02804}" type="presParOf" srcId="{49FCAA37-9701-4517-8C46-EB63B4AE4FEF}" destId="{2E411B42-3E98-4E62-9389-58DEE7EA297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1885F80E-87E1-4D94-BD3E-ED610E22A14F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F800799-1366-4B06-BEC3-8C577FC7D0DD}">
      <dgm:prSet phldrT="[Text]"/>
      <dgm:spPr/>
      <dgm:t>
        <a:bodyPr/>
        <a:lstStyle/>
        <a:p>
          <a:r>
            <a:rPr lang="en-US" dirty="0"/>
            <a:t>Population</a:t>
          </a:r>
        </a:p>
      </dgm:t>
    </dgm:pt>
    <dgm:pt modelId="{63010696-8DB2-42FB-970D-203ABF352767}" type="parTrans" cxnId="{89F8C285-2326-4992-885D-FB5F298D2080}">
      <dgm:prSet/>
      <dgm:spPr/>
      <dgm:t>
        <a:bodyPr/>
        <a:lstStyle/>
        <a:p>
          <a:endParaRPr lang="en-US"/>
        </a:p>
      </dgm:t>
    </dgm:pt>
    <dgm:pt modelId="{09C0CCD0-7B7D-4C9C-A655-F59BF573B989}" type="sibTrans" cxnId="{89F8C285-2326-4992-885D-FB5F298D2080}">
      <dgm:prSet/>
      <dgm:spPr/>
      <dgm:t>
        <a:bodyPr/>
        <a:lstStyle/>
        <a:p>
          <a:endParaRPr lang="en-US"/>
        </a:p>
      </dgm:t>
    </dgm:pt>
    <dgm:pt modelId="{152E9409-18E5-454F-B452-5F6F9499F61D}">
      <dgm:prSet phldrT="[Text]"/>
      <dgm:spPr/>
      <dgm:t>
        <a:bodyPr/>
        <a:lstStyle/>
        <a:p>
          <a:r>
            <a:rPr lang="en-US" dirty="0"/>
            <a:t>HIV+</a:t>
          </a:r>
        </a:p>
      </dgm:t>
    </dgm:pt>
    <dgm:pt modelId="{540765C9-B024-44B4-9AE8-519BFCDEA995}" type="parTrans" cxnId="{D5885B07-5541-4D87-B6D7-C3A85463F8CA}">
      <dgm:prSet/>
      <dgm:spPr/>
      <dgm:t>
        <a:bodyPr/>
        <a:lstStyle/>
        <a:p>
          <a:endParaRPr lang="en-US"/>
        </a:p>
      </dgm:t>
    </dgm:pt>
    <dgm:pt modelId="{ACCCE310-D1B3-47C5-BF3A-1DB35909187D}" type="sibTrans" cxnId="{D5885B07-5541-4D87-B6D7-C3A85463F8CA}">
      <dgm:prSet/>
      <dgm:spPr/>
      <dgm:t>
        <a:bodyPr/>
        <a:lstStyle/>
        <a:p>
          <a:endParaRPr lang="en-US"/>
        </a:p>
      </dgm:t>
    </dgm:pt>
    <dgm:pt modelId="{03D79FE3-8970-413C-9DE5-F52F12558F1B}">
      <dgm:prSet phldrT="[Text]"/>
      <dgm:spPr/>
      <dgm:t>
        <a:bodyPr/>
        <a:lstStyle/>
        <a:p>
          <a:r>
            <a:rPr lang="en-US" dirty="0"/>
            <a:t>Diagnosed</a:t>
          </a:r>
        </a:p>
      </dgm:t>
    </dgm:pt>
    <dgm:pt modelId="{F57836C1-3575-4837-B2A9-8FE134AD4590}" type="parTrans" cxnId="{8F1476EE-A328-42FC-ACD1-D5205802C4E9}">
      <dgm:prSet/>
      <dgm:spPr/>
      <dgm:t>
        <a:bodyPr/>
        <a:lstStyle/>
        <a:p>
          <a:endParaRPr lang="en-US"/>
        </a:p>
      </dgm:t>
    </dgm:pt>
    <dgm:pt modelId="{4DC91634-DE61-4CFF-9335-945571585B04}" type="sibTrans" cxnId="{8F1476EE-A328-42FC-ACD1-D5205802C4E9}">
      <dgm:prSet/>
      <dgm:spPr/>
      <dgm:t>
        <a:bodyPr/>
        <a:lstStyle/>
        <a:p>
          <a:endParaRPr lang="en-US"/>
        </a:p>
      </dgm:t>
    </dgm:pt>
    <dgm:pt modelId="{AE7C5B2F-7127-4B12-B355-99607DB68C23}">
      <dgm:prSet phldrT="[Text]"/>
      <dgm:spPr/>
      <dgm:t>
        <a:bodyPr/>
        <a:lstStyle/>
        <a:p>
          <a:r>
            <a:rPr lang="en-US" dirty="0"/>
            <a:t>Undiagnosed</a:t>
          </a:r>
        </a:p>
      </dgm:t>
    </dgm:pt>
    <dgm:pt modelId="{A1BE18C8-B462-4FB9-AF54-9F7EDC2E1841}" type="parTrans" cxnId="{07716D24-0CEE-42B6-9F8E-E6A4B2DF2663}">
      <dgm:prSet/>
      <dgm:spPr/>
      <dgm:t>
        <a:bodyPr/>
        <a:lstStyle/>
        <a:p>
          <a:endParaRPr lang="en-US"/>
        </a:p>
      </dgm:t>
    </dgm:pt>
    <dgm:pt modelId="{F03571E0-47A0-49F8-9755-A42A467CE6D0}" type="sibTrans" cxnId="{07716D24-0CEE-42B6-9F8E-E6A4B2DF2663}">
      <dgm:prSet/>
      <dgm:spPr/>
      <dgm:t>
        <a:bodyPr/>
        <a:lstStyle/>
        <a:p>
          <a:endParaRPr lang="en-US"/>
        </a:p>
      </dgm:t>
    </dgm:pt>
    <dgm:pt modelId="{8BF2A928-88FD-4441-BD23-6F8A3F0A1B51}">
      <dgm:prSet phldrT="[Text]"/>
      <dgm:spPr/>
      <dgm:t>
        <a:bodyPr/>
        <a:lstStyle/>
        <a:p>
          <a:r>
            <a:rPr lang="en-US" dirty="0"/>
            <a:t>HIV-</a:t>
          </a:r>
        </a:p>
      </dgm:t>
    </dgm:pt>
    <dgm:pt modelId="{8BFF9A7F-FEB6-4EDF-84AE-2A986BCC88B3}" type="parTrans" cxnId="{1491DB89-4DC2-4999-8916-9411827C40E6}">
      <dgm:prSet/>
      <dgm:spPr/>
      <dgm:t>
        <a:bodyPr/>
        <a:lstStyle/>
        <a:p>
          <a:endParaRPr lang="en-US"/>
        </a:p>
      </dgm:t>
    </dgm:pt>
    <dgm:pt modelId="{CCCFA426-0C47-44DB-93EC-734C5D06EBAD}" type="sibTrans" cxnId="{1491DB89-4DC2-4999-8916-9411827C40E6}">
      <dgm:prSet/>
      <dgm:spPr/>
      <dgm:t>
        <a:bodyPr/>
        <a:lstStyle/>
        <a:p>
          <a:endParaRPr lang="en-US"/>
        </a:p>
      </dgm:t>
    </dgm:pt>
    <dgm:pt modelId="{E4FB5636-DB4C-4A9E-98CC-7D0CCD546197}">
      <dgm:prSet phldrT="[Text]"/>
      <dgm:spPr/>
      <dgm:t>
        <a:bodyPr/>
        <a:lstStyle/>
        <a:p>
          <a:r>
            <a:rPr lang="en-US" dirty="0"/>
            <a:t>Confirmed HIV-</a:t>
          </a:r>
        </a:p>
      </dgm:t>
    </dgm:pt>
    <dgm:pt modelId="{39375C94-2361-4F3E-B554-225BC782B80A}" type="parTrans" cxnId="{0B8AF93A-23E5-4F2F-A99D-2007557AF1C8}">
      <dgm:prSet/>
      <dgm:spPr/>
      <dgm:t>
        <a:bodyPr/>
        <a:lstStyle/>
        <a:p>
          <a:endParaRPr lang="en-US"/>
        </a:p>
      </dgm:t>
    </dgm:pt>
    <dgm:pt modelId="{78A08CB7-93B9-4D48-A8EF-E41F09A826B1}" type="sibTrans" cxnId="{0B8AF93A-23E5-4F2F-A99D-2007557AF1C8}">
      <dgm:prSet/>
      <dgm:spPr/>
      <dgm:t>
        <a:bodyPr/>
        <a:lstStyle/>
        <a:p>
          <a:endParaRPr lang="en-US"/>
        </a:p>
      </dgm:t>
    </dgm:pt>
    <dgm:pt modelId="{EE75C097-FE67-40DB-BECA-BEC7FCFE3D87}">
      <dgm:prSet phldrT="[Text]"/>
      <dgm:spPr/>
      <dgm:t>
        <a:bodyPr/>
        <a:lstStyle/>
        <a:p>
          <a:r>
            <a:rPr lang="en-US" dirty="0"/>
            <a:t>Population</a:t>
          </a:r>
        </a:p>
      </dgm:t>
    </dgm:pt>
    <dgm:pt modelId="{A302D166-ED37-43A5-BDDB-B398EC8A1301}" type="parTrans" cxnId="{A1B36F1C-F44D-4366-97F1-6DEE6A458909}">
      <dgm:prSet/>
      <dgm:spPr/>
      <dgm:t>
        <a:bodyPr/>
        <a:lstStyle/>
        <a:p>
          <a:endParaRPr lang="en-US"/>
        </a:p>
      </dgm:t>
    </dgm:pt>
    <dgm:pt modelId="{C8E602D5-BACE-4286-99F3-8D4FAB0B2F30}" type="sibTrans" cxnId="{A1B36F1C-F44D-4366-97F1-6DEE6A458909}">
      <dgm:prSet/>
      <dgm:spPr/>
      <dgm:t>
        <a:bodyPr/>
        <a:lstStyle/>
        <a:p>
          <a:endParaRPr lang="en-US"/>
        </a:p>
      </dgm:t>
    </dgm:pt>
    <dgm:pt modelId="{0B16C609-4BFB-4A19-91C4-9BA84D2104B9}">
      <dgm:prSet phldrT="[Text]"/>
      <dgm:spPr/>
      <dgm:t>
        <a:bodyPr/>
        <a:lstStyle/>
        <a:p>
          <a:r>
            <a:rPr lang="en-US" dirty="0"/>
            <a:t>HIV Status</a:t>
          </a:r>
        </a:p>
      </dgm:t>
    </dgm:pt>
    <dgm:pt modelId="{8F75D596-9EDD-47BE-AC83-8053F03CFA1C}" type="parTrans" cxnId="{A931BFDF-C0D1-437C-A75F-0CEB47DBAA94}">
      <dgm:prSet/>
      <dgm:spPr/>
      <dgm:t>
        <a:bodyPr/>
        <a:lstStyle/>
        <a:p>
          <a:endParaRPr lang="en-US"/>
        </a:p>
      </dgm:t>
    </dgm:pt>
    <dgm:pt modelId="{42201FF3-95EE-4717-818D-FBE8B7FFB037}" type="sibTrans" cxnId="{A931BFDF-C0D1-437C-A75F-0CEB47DBAA94}">
      <dgm:prSet/>
      <dgm:spPr/>
      <dgm:t>
        <a:bodyPr/>
        <a:lstStyle/>
        <a:p>
          <a:endParaRPr lang="en-US"/>
        </a:p>
      </dgm:t>
    </dgm:pt>
    <dgm:pt modelId="{EB9ACE35-8E04-4BD5-8776-74F9551394C7}">
      <dgm:prSet phldrT="[Text]"/>
      <dgm:spPr/>
      <dgm:t>
        <a:bodyPr/>
        <a:lstStyle/>
        <a:p>
          <a:r>
            <a:rPr lang="en-US" dirty="0"/>
            <a:t>Testing</a:t>
          </a:r>
        </a:p>
      </dgm:t>
    </dgm:pt>
    <dgm:pt modelId="{38052B63-7877-4301-9E0F-285868D17568}" type="parTrans" cxnId="{E980CE61-6319-4516-A21A-761F25E15A24}">
      <dgm:prSet/>
      <dgm:spPr/>
      <dgm:t>
        <a:bodyPr/>
        <a:lstStyle/>
        <a:p>
          <a:endParaRPr lang="en-US"/>
        </a:p>
      </dgm:t>
    </dgm:pt>
    <dgm:pt modelId="{F175FCA5-1BF4-4993-9409-B0EE6E675417}" type="sibTrans" cxnId="{E980CE61-6319-4516-A21A-761F25E15A24}">
      <dgm:prSet/>
      <dgm:spPr/>
      <dgm:t>
        <a:bodyPr/>
        <a:lstStyle/>
        <a:p>
          <a:endParaRPr lang="en-US"/>
        </a:p>
      </dgm:t>
    </dgm:pt>
    <dgm:pt modelId="{582E6523-A6B8-467A-84FE-6FEC70DF71F6}">
      <dgm:prSet/>
      <dgm:spPr/>
      <dgm:t>
        <a:bodyPr/>
        <a:lstStyle/>
        <a:p>
          <a:r>
            <a:rPr lang="en-US" dirty="0"/>
            <a:t>On ART</a:t>
          </a:r>
        </a:p>
      </dgm:t>
    </dgm:pt>
    <dgm:pt modelId="{894C2A83-680B-47A4-AE14-7EDA92BE4EA0}" type="parTrans" cxnId="{CDA38AD1-5966-4EAF-9397-58DF4DC34843}">
      <dgm:prSet/>
      <dgm:spPr/>
      <dgm:t>
        <a:bodyPr/>
        <a:lstStyle/>
        <a:p>
          <a:endParaRPr lang="en-US"/>
        </a:p>
      </dgm:t>
    </dgm:pt>
    <dgm:pt modelId="{CCF0E915-F288-4710-94C3-057FC9AD29B3}" type="sibTrans" cxnId="{CDA38AD1-5966-4EAF-9397-58DF4DC34843}">
      <dgm:prSet/>
      <dgm:spPr/>
      <dgm:t>
        <a:bodyPr/>
        <a:lstStyle/>
        <a:p>
          <a:endParaRPr lang="en-US"/>
        </a:p>
      </dgm:t>
    </dgm:pt>
    <dgm:pt modelId="{D690FC4E-FAFD-4DE1-AF92-7B0C5DC856F2}">
      <dgm:prSet/>
      <dgm:spPr/>
      <dgm:t>
        <a:bodyPr/>
        <a:lstStyle/>
        <a:p>
          <a:r>
            <a:rPr lang="en-US" dirty="0"/>
            <a:t>Not in ART</a:t>
          </a:r>
        </a:p>
      </dgm:t>
    </dgm:pt>
    <dgm:pt modelId="{10B74CA2-A88B-48C5-99E4-B205E5947F5A}" type="parTrans" cxnId="{169564BC-7068-4CEC-BACB-1978515689ED}">
      <dgm:prSet/>
      <dgm:spPr/>
      <dgm:t>
        <a:bodyPr/>
        <a:lstStyle/>
        <a:p>
          <a:endParaRPr lang="en-US"/>
        </a:p>
      </dgm:t>
    </dgm:pt>
    <dgm:pt modelId="{98814ECF-0F3F-44DC-A5E2-E611A5EF98FB}" type="sibTrans" cxnId="{169564BC-7068-4CEC-BACB-1978515689ED}">
      <dgm:prSet/>
      <dgm:spPr/>
      <dgm:t>
        <a:bodyPr/>
        <a:lstStyle/>
        <a:p>
          <a:endParaRPr lang="en-US"/>
        </a:p>
      </dgm:t>
    </dgm:pt>
    <dgm:pt modelId="{968AC9AB-11D0-412E-83BA-7FF5E91424EF}">
      <dgm:prSet phldrT="[Text]"/>
      <dgm:spPr/>
      <dgm:t>
        <a:bodyPr/>
        <a:lstStyle/>
        <a:p>
          <a:r>
            <a:rPr lang="en-US" dirty="0"/>
            <a:t>Linkage to Care</a:t>
          </a:r>
        </a:p>
      </dgm:t>
    </dgm:pt>
    <dgm:pt modelId="{86BB6558-1885-43ED-9BF2-042CA36F9241}" type="parTrans" cxnId="{F7A8ED5F-5A35-4DBB-B03E-15A9399D456E}">
      <dgm:prSet/>
      <dgm:spPr/>
      <dgm:t>
        <a:bodyPr/>
        <a:lstStyle/>
        <a:p>
          <a:endParaRPr lang="en-US"/>
        </a:p>
      </dgm:t>
    </dgm:pt>
    <dgm:pt modelId="{45C3612A-2305-4AC3-963C-24AA9A6CAAC9}" type="sibTrans" cxnId="{F7A8ED5F-5A35-4DBB-B03E-15A9399D456E}">
      <dgm:prSet/>
      <dgm:spPr/>
      <dgm:t>
        <a:bodyPr/>
        <a:lstStyle/>
        <a:p>
          <a:endParaRPr lang="en-US"/>
        </a:p>
      </dgm:t>
    </dgm:pt>
    <dgm:pt modelId="{3A6814B3-377E-491D-BEA0-1E4C783B3122}">
      <dgm:prSet/>
      <dgm:spPr/>
      <dgm:t>
        <a:bodyPr/>
        <a:lstStyle/>
        <a:p>
          <a:r>
            <a:rPr lang="en-US" dirty="0"/>
            <a:t>Not Suppressed</a:t>
          </a:r>
        </a:p>
      </dgm:t>
    </dgm:pt>
    <dgm:pt modelId="{0829424C-4015-4DDF-AD5E-1EAAB8EBA062}" type="parTrans" cxnId="{BD521C5D-ED08-45FE-B76D-C848A69E2CBC}">
      <dgm:prSet/>
      <dgm:spPr/>
      <dgm:t>
        <a:bodyPr/>
        <a:lstStyle/>
        <a:p>
          <a:endParaRPr lang="en-US"/>
        </a:p>
      </dgm:t>
    </dgm:pt>
    <dgm:pt modelId="{0A9A67FE-DA91-4706-A898-482045DD6287}" type="sibTrans" cxnId="{BD521C5D-ED08-45FE-B76D-C848A69E2CBC}">
      <dgm:prSet/>
      <dgm:spPr/>
      <dgm:t>
        <a:bodyPr/>
        <a:lstStyle/>
        <a:p>
          <a:endParaRPr lang="en-US"/>
        </a:p>
      </dgm:t>
    </dgm:pt>
    <dgm:pt modelId="{BC326B0E-43BA-4523-A75E-F1BA4E2395D3}">
      <dgm:prSet/>
      <dgm:spPr/>
      <dgm:t>
        <a:bodyPr/>
        <a:lstStyle/>
        <a:p>
          <a:r>
            <a:rPr lang="en-US" dirty="0"/>
            <a:t>Virally Suppressed</a:t>
          </a:r>
        </a:p>
      </dgm:t>
    </dgm:pt>
    <dgm:pt modelId="{3024737E-7264-4692-A548-80C1B489547C}" type="parTrans" cxnId="{F5E46953-EDCD-4C09-A738-45B6877C49DE}">
      <dgm:prSet/>
      <dgm:spPr/>
      <dgm:t>
        <a:bodyPr/>
        <a:lstStyle/>
        <a:p>
          <a:endParaRPr lang="en-US"/>
        </a:p>
      </dgm:t>
    </dgm:pt>
    <dgm:pt modelId="{9E7B7C03-E452-48FD-9722-D5323D3A5E0E}" type="sibTrans" cxnId="{F5E46953-EDCD-4C09-A738-45B6877C49DE}">
      <dgm:prSet/>
      <dgm:spPr/>
      <dgm:t>
        <a:bodyPr/>
        <a:lstStyle/>
        <a:p>
          <a:endParaRPr lang="en-US"/>
        </a:p>
      </dgm:t>
    </dgm:pt>
    <dgm:pt modelId="{0E1849C8-56E6-4A1A-854E-624E35BD65A3}">
      <dgm:prSet phldrT="[Text]"/>
      <dgm:spPr/>
      <dgm:t>
        <a:bodyPr/>
        <a:lstStyle/>
        <a:p>
          <a:r>
            <a:rPr lang="en-US" dirty="0"/>
            <a:t>Viral Suppression</a:t>
          </a:r>
        </a:p>
      </dgm:t>
    </dgm:pt>
    <dgm:pt modelId="{240464C3-6DE7-4BD1-B6C9-46AC63DBE18F}" type="parTrans" cxnId="{F8A7CE12-9BF2-44F0-A498-F84A2E2CA962}">
      <dgm:prSet/>
      <dgm:spPr/>
      <dgm:t>
        <a:bodyPr/>
        <a:lstStyle/>
        <a:p>
          <a:endParaRPr lang="en-US"/>
        </a:p>
      </dgm:t>
    </dgm:pt>
    <dgm:pt modelId="{585E0FB6-9F60-41F7-996C-A99886FF33D4}" type="sibTrans" cxnId="{F8A7CE12-9BF2-44F0-A498-F84A2E2CA962}">
      <dgm:prSet/>
      <dgm:spPr/>
      <dgm:t>
        <a:bodyPr/>
        <a:lstStyle/>
        <a:p>
          <a:endParaRPr lang="en-US"/>
        </a:p>
      </dgm:t>
    </dgm:pt>
    <dgm:pt modelId="{A58B3EA7-2FD0-4A5F-8E5F-80CD410343D4}" type="pres">
      <dgm:prSet presAssocID="{1885F80E-87E1-4D94-BD3E-ED610E22A14F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D990DA51-3BCD-4F27-B6C8-E0863EF6F830}" type="pres">
      <dgm:prSet presAssocID="{1885F80E-87E1-4D94-BD3E-ED610E22A14F}" presName="hierFlow" presStyleCnt="0"/>
      <dgm:spPr/>
    </dgm:pt>
    <dgm:pt modelId="{BE9DCB3A-A9DE-45E9-9A61-4883E700B21A}" type="pres">
      <dgm:prSet presAssocID="{1885F80E-87E1-4D94-BD3E-ED610E22A14F}" presName="firstBuf" presStyleCnt="0"/>
      <dgm:spPr/>
    </dgm:pt>
    <dgm:pt modelId="{5F50CD78-A1CF-4137-B581-420FD8EDBC6B}" type="pres">
      <dgm:prSet presAssocID="{1885F80E-87E1-4D94-BD3E-ED610E22A14F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6A449AE8-93DD-4E6F-96F6-A464B954FFBF}" type="pres">
      <dgm:prSet presAssocID="{DF800799-1366-4B06-BEC3-8C577FC7D0DD}" presName="Name17" presStyleCnt="0"/>
      <dgm:spPr/>
    </dgm:pt>
    <dgm:pt modelId="{D08650A9-A8CC-4DB9-9880-C1205D2244C5}" type="pres">
      <dgm:prSet presAssocID="{DF800799-1366-4B06-BEC3-8C577FC7D0DD}" presName="level1Shape" presStyleLbl="node0" presStyleIdx="0" presStyleCnt="1" custLinFactY="-45278" custLinFactNeighborY="-100000">
        <dgm:presLayoutVars>
          <dgm:chPref val="3"/>
        </dgm:presLayoutVars>
      </dgm:prSet>
      <dgm:spPr/>
    </dgm:pt>
    <dgm:pt modelId="{402AC2F3-5720-4DFC-9E47-B3CDB77F9B04}" type="pres">
      <dgm:prSet presAssocID="{DF800799-1366-4B06-BEC3-8C577FC7D0DD}" presName="hierChild2" presStyleCnt="0"/>
      <dgm:spPr/>
    </dgm:pt>
    <dgm:pt modelId="{D81D276A-709A-46E2-928E-D6210FAEC5AF}" type="pres">
      <dgm:prSet presAssocID="{540765C9-B024-44B4-9AE8-519BFCDEA995}" presName="Name25" presStyleLbl="parChTrans1D2" presStyleIdx="0" presStyleCnt="2"/>
      <dgm:spPr/>
    </dgm:pt>
    <dgm:pt modelId="{1AECFD1D-2024-4C5C-A4BE-30F11D49090E}" type="pres">
      <dgm:prSet presAssocID="{540765C9-B024-44B4-9AE8-519BFCDEA995}" presName="connTx" presStyleLbl="parChTrans1D2" presStyleIdx="0" presStyleCnt="2"/>
      <dgm:spPr/>
    </dgm:pt>
    <dgm:pt modelId="{49D94DF3-0E35-41CB-96F7-AEE08F51253D}" type="pres">
      <dgm:prSet presAssocID="{152E9409-18E5-454F-B452-5F6F9499F61D}" presName="Name30" presStyleCnt="0"/>
      <dgm:spPr/>
    </dgm:pt>
    <dgm:pt modelId="{F9963254-F89B-4EFF-AC4C-7E0F06EC8728}" type="pres">
      <dgm:prSet presAssocID="{152E9409-18E5-454F-B452-5F6F9499F61D}" presName="level2Shape" presStyleLbl="node2" presStyleIdx="0" presStyleCnt="2" custLinFactY="-70648" custLinFactNeighborX="679" custLinFactNeighborY="-100000"/>
      <dgm:spPr/>
    </dgm:pt>
    <dgm:pt modelId="{0771AFAC-DD85-4E04-8E85-53FE5B8DAEFF}" type="pres">
      <dgm:prSet presAssocID="{152E9409-18E5-454F-B452-5F6F9499F61D}" presName="hierChild3" presStyleCnt="0"/>
      <dgm:spPr/>
    </dgm:pt>
    <dgm:pt modelId="{D8C68C73-664B-4A22-8E1A-0B8839AE2111}" type="pres">
      <dgm:prSet presAssocID="{F57836C1-3575-4837-B2A9-8FE134AD4590}" presName="Name25" presStyleLbl="parChTrans1D3" presStyleIdx="0" presStyleCnt="3"/>
      <dgm:spPr/>
    </dgm:pt>
    <dgm:pt modelId="{4FBE8454-FD7C-4E7F-8F93-7CD15CB52174}" type="pres">
      <dgm:prSet presAssocID="{F57836C1-3575-4837-B2A9-8FE134AD4590}" presName="connTx" presStyleLbl="parChTrans1D3" presStyleIdx="0" presStyleCnt="3"/>
      <dgm:spPr/>
    </dgm:pt>
    <dgm:pt modelId="{947D3E01-6BB7-453E-A39B-F9B0C0777C26}" type="pres">
      <dgm:prSet presAssocID="{03D79FE3-8970-413C-9DE5-F52F12558F1B}" presName="Name30" presStyleCnt="0"/>
      <dgm:spPr/>
    </dgm:pt>
    <dgm:pt modelId="{81BF3E8F-3624-420C-8DE7-15A870CB2599}" type="pres">
      <dgm:prSet presAssocID="{03D79FE3-8970-413C-9DE5-F52F12558F1B}" presName="level2Shape" presStyleLbl="node3" presStyleIdx="0" presStyleCnt="3" custLinFactY="-69717" custLinFactNeighborX="-885" custLinFactNeighborY="-100000"/>
      <dgm:spPr/>
    </dgm:pt>
    <dgm:pt modelId="{7038269B-B15A-4BAA-ACC4-7C645C127C91}" type="pres">
      <dgm:prSet presAssocID="{03D79FE3-8970-413C-9DE5-F52F12558F1B}" presName="hierChild3" presStyleCnt="0"/>
      <dgm:spPr/>
    </dgm:pt>
    <dgm:pt modelId="{BBFCA56A-4112-471F-96D2-B9D70A870D0A}" type="pres">
      <dgm:prSet presAssocID="{894C2A83-680B-47A4-AE14-7EDA92BE4EA0}" presName="Name25" presStyleLbl="parChTrans1D4" presStyleIdx="0" presStyleCnt="4"/>
      <dgm:spPr/>
    </dgm:pt>
    <dgm:pt modelId="{360301FC-E549-4F93-9FF9-9AE9CD5AFD7B}" type="pres">
      <dgm:prSet presAssocID="{894C2A83-680B-47A4-AE14-7EDA92BE4EA0}" presName="connTx" presStyleLbl="parChTrans1D4" presStyleIdx="0" presStyleCnt="4"/>
      <dgm:spPr/>
    </dgm:pt>
    <dgm:pt modelId="{71E99AA9-64BB-4FB8-94E2-DCDD5A4CB9AC}" type="pres">
      <dgm:prSet presAssocID="{582E6523-A6B8-467A-84FE-6FEC70DF71F6}" presName="Name30" presStyleCnt="0"/>
      <dgm:spPr/>
    </dgm:pt>
    <dgm:pt modelId="{9303516C-20A2-409A-9568-6D79F7391A73}" type="pres">
      <dgm:prSet presAssocID="{582E6523-A6B8-467A-84FE-6FEC70DF71F6}" presName="level2Shape" presStyleLbl="node4" presStyleIdx="0" presStyleCnt="4" custLinFactY="-12692" custLinFactNeighborX="-679" custLinFactNeighborY="-100000"/>
      <dgm:spPr/>
    </dgm:pt>
    <dgm:pt modelId="{F735FDBA-F913-499A-B84A-B95CC9FE232B}" type="pres">
      <dgm:prSet presAssocID="{582E6523-A6B8-467A-84FE-6FEC70DF71F6}" presName="hierChild3" presStyleCnt="0"/>
      <dgm:spPr/>
    </dgm:pt>
    <dgm:pt modelId="{A5FEE92F-B30C-4BE3-BDBD-4324373AE959}" type="pres">
      <dgm:prSet presAssocID="{3024737E-7264-4692-A548-80C1B489547C}" presName="Name25" presStyleLbl="parChTrans1D4" presStyleIdx="1" presStyleCnt="4"/>
      <dgm:spPr/>
    </dgm:pt>
    <dgm:pt modelId="{A8F3A050-DF07-4DDB-8C80-02254D3FA0D0}" type="pres">
      <dgm:prSet presAssocID="{3024737E-7264-4692-A548-80C1B489547C}" presName="connTx" presStyleLbl="parChTrans1D4" presStyleIdx="1" presStyleCnt="4"/>
      <dgm:spPr/>
    </dgm:pt>
    <dgm:pt modelId="{59F48E7E-0C46-42CA-A541-19760B80719E}" type="pres">
      <dgm:prSet presAssocID="{BC326B0E-43BA-4523-A75E-F1BA4E2395D3}" presName="Name30" presStyleCnt="0"/>
      <dgm:spPr/>
    </dgm:pt>
    <dgm:pt modelId="{3CF4668F-8312-4060-A378-76E6B0BF6231}" type="pres">
      <dgm:prSet presAssocID="{BC326B0E-43BA-4523-A75E-F1BA4E2395D3}" presName="level2Shape" presStyleLbl="node4" presStyleIdx="1" presStyleCnt="4" custLinFactNeighborX="-679" custLinFactNeighborY="-52952"/>
      <dgm:spPr/>
    </dgm:pt>
    <dgm:pt modelId="{C0C0D799-98A8-4DF4-9057-E615090002B7}" type="pres">
      <dgm:prSet presAssocID="{BC326B0E-43BA-4523-A75E-F1BA4E2395D3}" presName="hierChild3" presStyleCnt="0"/>
      <dgm:spPr/>
    </dgm:pt>
    <dgm:pt modelId="{C4A08F74-8DA5-4147-A45D-76B1E540BE62}" type="pres">
      <dgm:prSet presAssocID="{0829424C-4015-4DDF-AD5E-1EAAB8EBA062}" presName="Name25" presStyleLbl="parChTrans1D4" presStyleIdx="2" presStyleCnt="4"/>
      <dgm:spPr/>
    </dgm:pt>
    <dgm:pt modelId="{C17E2068-405A-41AA-99A6-5B8C40BC91B8}" type="pres">
      <dgm:prSet presAssocID="{0829424C-4015-4DDF-AD5E-1EAAB8EBA062}" presName="connTx" presStyleLbl="parChTrans1D4" presStyleIdx="2" presStyleCnt="4"/>
      <dgm:spPr/>
    </dgm:pt>
    <dgm:pt modelId="{ACF046A6-39F5-47FE-A0D3-0132B0D3B072}" type="pres">
      <dgm:prSet presAssocID="{3A6814B3-377E-491D-BEA0-1E4C783B3122}" presName="Name30" presStyleCnt="0"/>
      <dgm:spPr/>
    </dgm:pt>
    <dgm:pt modelId="{2A3582DA-5AD2-42E2-9492-4321684B4E44}" type="pres">
      <dgm:prSet presAssocID="{3A6814B3-377E-491D-BEA0-1E4C783B3122}" presName="level2Shape" presStyleLbl="node4" presStyleIdx="2" presStyleCnt="4" custLinFactNeighborX="-679" custLinFactNeighborY="-52952"/>
      <dgm:spPr/>
    </dgm:pt>
    <dgm:pt modelId="{5DB41D23-8506-47F0-91BF-07F81BAF5DC7}" type="pres">
      <dgm:prSet presAssocID="{3A6814B3-377E-491D-BEA0-1E4C783B3122}" presName="hierChild3" presStyleCnt="0"/>
      <dgm:spPr/>
    </dgm:pt>
    <dgm:pt modelId="{D9FC3545-A2B6-4E59-8624-FC150C829DE3}" type="pres">
      <dgm:prSet presAssocID="{10B74CA2-A88B-48C5-99E4-B205E5947F5A}" presName="Name25" presStyleLbl="parChTrans1D4" presStyleIdx="3" presStyleCnt="4"/>
      <dgm:spPr/>
    </dgm:pt>
    <dgm:pt modelId="{7AE2C54C-9441-4D6F-BD40-1B4395F7EAA0}" type="pres">
      <dgm:prSet presAssocID="{10B74CA2-A88B-48C5-99E4-B205E5947F5A}" presName="connTx" presStyleLbl="parChTrans1D4" presStyleIdx="3" presStyleCnt="4"/>
      <dgm:spPr/>
    </dgm:pt>
    <dgm:pt modelId="{209DB3FB-1EC2-4DD8-8B18-27826BE6AB57}" type="pres">
      <dgm:prSet presAssocID="{D690FC4E-FAFD-4DE1-AF92-7B0C5DC856F2}" presName="Name30" presStyleCnt="0"/>
      <dgm:spPr/>
    </dgm:pt>
    <dgm:pt modelId="{2953410E-3B6A-4420-ADBB-ACA39AB7E67A}" type="pres">
      <dgm:prSet presAssocID="{D690FC4E-FAFD-4DE1-AF92-7B0C5DC856F2}" presName="level2Shape" presStyleLbl="node4" presStyleIdx="3" presStyleCnt="4" custLinFactY="-4546" custLinFactNeighborX="-1358" custLinFactNeighborY="-100000"/>
      <dgm:spPr/>
    </dgm:pt>
    <dgm:pt modelId="{DD55509D-6EF3-4491-B29E-F2EDEFBE4303}" type="pres">
      <dgm:prSet presAssocID="{D690FC4E-FAFD-4DE1-AF92-7B0C5DC856F2}" presName="hierChild3" presStyleCnt="0"/>
      <dgm:spPr/>
    </dgm:pt>
    <dgm:pt modelId="{61D7AAA7-EE4B-4382-A93C-A5F85EFF0449}" type="pres">
      <dgm:prSet presAssocID="{A1BE18C8-B462-4FB9-AF54-9F7EDC2E1841}" presName="Name25" presStyleLbl="parChTrans1D3" presStyleIdx="1" presStyleCnt="3"/>
      <dgm:spPr/>
    </dgm:pt>
    <dgm:pt modelId="{6126C50E-70F5-4891-B404-D60DF18C955E}" type="pres">
      <dgm:prSet presAssocID="{A1BE18C8-B462-4FB9-AF54-9F7EDC2E1841}" presName="connTx" presStyleLbl="parChTrans1D3" presStyleIdx="1" presStyleCnt="3"/>
      <dgm:spPr/>
    </dgm:pt>
    <dgm:pt modelId="{716E73D1-8469-4157-9E6D-3ACD47C14923}" type="pres">
      <dgm:prSet presAssocID="{AE7C5B2F-7127-4B12-B355-99607DB68C23}" presName="Name30" presStyleCnt="0"/>
      <dgm:spPr/>
    </dgm:pt>
    <dgm:pt modelId="{9BC61C62-EFD8-4C81-B1AF-AADC409F959F}" type="pres">
      <dgm:prSet presAssocID="{AE7C5B2F-7127-4B12-B355-99607DB68C23}" presName="level2Shape" presStyleLbl="node3" presStyleIdx="1" presStyleCnt="3" custLinFactY="-57497" custLinFactNeighborX="-885" custLinFactNeighborY="-100000"/>
      <dgm:spPr/>
    </dgm:pt>
    <dgm:pt modelId="{7F631986-7C73-434B-996B-762A85C76685}" type="pres">
      <dgm:prSet presAssocID="{AE7C5B2F-7127-4B12-B355-99607DB68C23}" presName="hierChild3" presStyleCnt="0"/>
      <dgm:spPr/>
    </dgm:pt>
    <dgm:pt modelId="{6EE07868-8C57-4043-ADCF-2B85B33FD1B7}" type="pres">
      <dgm:prSet presAssocID="{8BFF9A7F-FEB6-4EDF-84AE-2A986BCC88B3}" presName="Name25" presStyleLbl="parChTrans1D2" presStyleIdx="1" presStyleCnt="2"/>
      <dgm:spPr/>
    </dgm:pt>
    <dgm:pt modelId="{D854FF2D-A173-4BA4-AA1E-3B79464C5A80}" type="pres">
      <dgm:prSet presAssocID="{8BFF9A7F-FEB6-4EDF-84AE-2A986BCC88B3}" presName="connTx" presStyleLbl="parChTrans1D2" presStyleIdx="1" presStyleCnt="2"/>
      <dgm:spPr/>
    </dgm:pt>
    <dgm:pt modelId="{3AB4B0A5-379F-4746-AE30-961DC6FB6F94}" type="pres">
      <dgm:prSet presAssocID="{8BF2A928-88FD-4441-BD23-6F8A3F0A1B51}" presName="Name30" presStyleCnt="0"/>
      <dgm:spPr/>
    </dgm:pt>
    <dgm:pt modelId="{DA8FBE57-ACA9-4A7F-B434-98B05BE55828}" type="pres">
      <dgm:prSet presAssocID="{8BF2A928-88FD-4441-BD23-6F8A3F0A1B51}" presName="level2Shape" presStyleLbl="node2" presStyleIdx="1" presStyleCnt="2" custLinFactY="-45278" custLinFactNeighborX="2037" custLinFactNeighborY="-100000"/>
      <dgm:spPr/>
    </dgm:pt>
    <dgm:pt modelId="{3592223E-B99C-45AA-A0B1-6AA67229BC7B}" type="pres">
      <dgm:prSet presAssocID="{8BF2A928-88FD-4441-BD23-6F8A3F0A1B51}" presName="hierChild3" presStyleCnt="0"/>
      <dgm:spPr/>
    </dgm:pt>
    <dgm:pt modelId="{4A32F9C5-624D-4C53-BB1A-B2729C881364}" type="pres">
      <dgm:prSet presAssocID="{39375C94-2361-4F3E-B554-225BC782B80A}" presName="Name25" presStyleLbl="parChTrans1D3" presStyleIdx="2" presStyleCnt="3"/>
      <dgm:spPr/>
    </dgm:pt>
    <dgm:pt modelId="{6ED463A8-1521-43BB-8277-8FADAD9B8098}" type="pres">
      <dgm:prSet presAssocID="{39375C94-2361-4F3E-B554-225BC782B80A}" presName="connTx" presStyleLbl="parChTrans1D3" presStyleIdx="2" presStyleCnt="3"/>
      <dgm:spPr/>
    </dgm:pt>
    <dgm:pt modelId="{069B87B5-7A4A-4E16-994E-E19B905EC6FD}" type="pres">
      <dgm:prSet presAssocID="{E4FB5636-DB4C-4A9E-98CC-7D0CCD546197}" presName="Name30" presStyleCnt="0"/>
      <dgm:spPr/>
    </dgm:pt>
    <dgm:pt modelId="{1A01ACBA-0339-43F6-8A7D-B0066C6852EF}" type="pres">
      <dgm:prSet presAssocID="{E4FB5636-DB4C-4A9E-98CC-7D0CCD546197}" presName="level2Shape" presStyleLbl="node3" presStyleIdx="2" presStyleCnt="3" custLinFactY="-46635" custLinFactNeighborX="-885" custLinFactNeighborY="-100000"/>
      <dgm:spPr/>
    </dgm:pt>
    <dgm:pt modelId="{C1F7F0DD-3EEA-486A-BB54-61B47AAB52B9}" type="pres">
      <dgm:prSet presAssocID="{E4FB5636-DB4C-4A9E-98CC-7D0CCD546197}" presName="hierChild3" presStyleCnt="0"/>
      <dgm:spPr/>
    </dgm:pt>
    <dgm:pt modelId="{A5AD0FAC-3F4A-4A28-82DA-F3D0429E0C1D}" type="pres">
      <dgm:prSet presAssocID="{1885F80E-87E1-4D94-BD3E-ED610E22A14F}" presName="bgShapesFlow" presStyleCnt="0"/>
      <dgm:spPr/>
    </dgm:pt>
    <dgm:pt modelId="{1A4C2DBF-B5EE-47D9-8EF1-76B499B00684}" type="pres">
      <dgm:prSet presAssocID="{EE75C097-FE67-40DB-BECA-BEC7FCFE3D87}" presName="rectComp" presStyleCnt="0"/>
      <dgm:spPr/>
    </dgm:pt>
    <dgm:pt modelId="{02CC6015-E950-4682-B36C-2A19AD653A84}" type="pres">
      <dgm:prSet presAssocID="{EE75C097-FE67-40DB-BECA-BEC7FCFE3D87}" presName="bgRect" presStyleLbl="bgShp" presStyleIdx="0" presStyleCnt="5"/>
      <dgm:spPr/>
    </dgm:pt>
    <dgm:pt modelId="{0CA3A1CD-3A1F-4595-834F-9323D52E0B1A}" type="pres">
      <dgm:prSet presAssocID="{EE75C097-FE67-40DB-BECA-BEC7FCFE3D87}" presName="bgRectTx" presStyleLbl="bgShp" presStyleIdx="0" presStyleCnt="5">
        <dgm:presLayoutVars>
          <dgm:bulletEnabled val="1"/>
        </dgm:presLayoutVars>
      </dgm:prSet>
      <dgm:spPr/>
    </dgm:pt>
    <dgm:pt modelId="{53D2FB27-81FA-4E2E-8E42-76956AA29693}" type="pres">
      <dgm:prSet presAssocID="{EE75C097-FE67-40DB-BECA-BEC7FCFE3D87}" presName="spComp" presStyleCnt="0"/>
      <dgm:spPr/>
    </dgm:pt>
    <dgm:pt modelId="{29549CB8-7B7D-4F98-8FBC-E5E4223DDE48}" type="pres">
      <dgm:prSet presAssocID="{EE75C097-FE67-40DB-BECA-BEC7FCFE3D87}" presName="hSp" presStyleCnt="0"/>
      <dgm:spPr/>
    </dgm:pt>
    <dgm:pt modelId="{74481E52-D0B9-4C4C-B36E-26BA1C47E230}" type="pres">
      <dgm:prSet presAssocID="{0B16C609-4BFB-4A19-91C4-9BA84D2104B9}" presName="rectComp" presStyleCnt="0"/>
      <dgm:spPr/>
    </dgm:pt>
    <dgm:pt modelId="{02ABBB39-9375-493F-A5F8-4F65BA689FBE}" type="pres">
      <dgm:prSet presAssocID="{0B16C609-4BFB-4A19-91C4-9BA84D2104B9}" presName="bgRect" presStyleLbl="bgShp" presStyleIdx="1" presStyleCnt="5"/>
      <dgm:spPr/>
    </dgm:pt>
    <dgm:pt modelId="{43047526-FC43-4DC6-AE0B-078B5EDE4AFB}" type="pres">
      <dgm:prSet presAssocID="{0B16C609-4BFB-4A19-91C4-9BA84D2104B9}" presName="bgRectTx" presStyleLbl="bgShp" presStyleIdx="1" presStyleCnt="5">
        <dgm:presLayoutVars>
          <dgm:bulletEnabled val="1"/>
        </dgm:presLayoutVars>
      </dgm:prSet>
      <dgm:spPr/>
    </dgm:pt>
    <dgm:pt modelId="{931042C6-FA37-4D3F-A42E-12543910233E}" type="pres">
      <dgm:prSet presAssocID="{0B16C609-4BFB-4A19-91C4-9BA84D2104B9}" presName="spComp" presStyleCnt="0"/>
      <dgm:spPr/>
    </dgm:pt>
    <dgm:pt modelId="{B4B8D000-557C-491E-A936-CB8E776B798F}" type="pres">
      <dgm:prSet presAssocID="{0B16C609-4BFB-4A19-91C4-9BA84D2104B9}" presName="hSp" presStyleCnt="0"/>
      <dgm:spPr/>
    </dgm:pt>
    <dgm:pt modelId="{24DA6DC4-F53E-40EB-BB9D-A7101747D341}" type="pres">
      <dgm:prSet presAssocID="{EB9ACE35-8E04-4BD5-8776-74F9551394C7}" presName="rectComp" presStyleCnt="0"/>
      <dgm:spPr/>
    </dgm:pt>
    <dgm:pt modelId="{32550C25-7278-407B-8A89-CB9FA5F08577}" type="pres">
      <dgm:prSet presAssocID="{EB9ACE35-8E04-4BD5-8776-74F9551394C7}" presName="bgRect" presStyleLbl="bgShp" presStyleIdx="2" presStyleCnt="5"/>
      <dgm:spPr/>
    </dgm:pt>
    <dgm:pt modelId="{52CF48FE-FE11-4725-B3F1-564A73F5B87E}" type="pres">
      <dgm:prSet presAssocID="{EB9ACE35-8E04-4BD5-8776-74F9551394C7}" presName="bgRectTx" presStyleLbl="bgShp" presStyleIdx="2" presStyleCnt="5">
        <dgm:presLayoutVars>
          <dgm:bulletEnabled val="1"/>
        </dgm:presLayoutVars>
      </dgm:prSet>
      <dgm:spPr/>
    </dgm:pt>
    <dgm:pt modelId="{5DD4D276-93AC-420E-BA46-A8D008966C1E}" type="pres">
      <dgm:prSet presAssocID="{EB9ACE35-8E04-4BD5-8776-74F9551394C7}" presName="spComp" presStyleCnt="0"/>
      <dgm:spPr/>
    </dgm:pt>
    <dgm:pt modelId="{CB9D083D-FFCA-46ED-B73A-B27E4E4C1329}" type="pres">
      <dgm:prSet presAssocID="{EB9ACE35-8E04-4BD5-8776-74F9551394C7}" presName="hSp" presStyleCnt="0"/>
      <dgm:spPr/>
    </dgm:pt>
    <dgm:pt modelId="{B8209E99-230F-43C6-87E8-0F0AF3B7F10C}" type="pres">
      <dgm:prSet presAssocID="{968AC9AB-11D0-412E-83BA-7FF5E91424EF}" presName="rectComp" presStyleCnt="0"/>
      <dgm:spPr/>
    </dgm:pt>
    <dgm:pt modelId="{B1D0AF92-3922-4056-B76B-79589C61C46D}" type="pres">
      <dgm:prSet presAssocID="{968AC9AB-11D0-412E-83BA-7FF5E91424EF}" presName="bgRect" presStyleLbl="bgShp" presStyleIdx="3" presStyleCnt="5"/>
      <dgm:spPr/>
    </dgm:pt>
    <dgm:pt modelId="{F866CF2A-BDAC-4B34-9CF1-8B481CE082BE}" type="pres">
      <dgm:prSet presAssocID="{968AC9AB-11D0-412E-83BA-7FF5E91424EF}" presName="bgRectTx" presStyleLbl="bgShp" presStyleIdx="3" presStyleCnt="5">
        <dgm:presLayoutVars>
          <dgm:bulletEnabled val="1"/>
        </dgm:presLayoutVars>
      </dgm:prSet>
      <dgm:spPr/>
    </dgm:pt>
    <dgm:pt modelId="{3D960AD5-DBFF-43AF-B473-DB43B4B704F1}" type="pres">
      <dgm:prSet presAssocID="{968AC9AB-11D0-412E-83BA-7FF5E91424EF}" presName="spComp" presStyleCnt="0"/>
      <dgm:spPr/>
    </dgm:pt>
    <dgm:pt modelId="{BA5CC7C6-8E1A-4694-8282-52339269E348}" type="pres">
      <dgm:prSet presAssocID="{968AC9AB-11D0-412E-83BA-7FF5E91424EF}" presName="hSp" presStyleCnt="0"/>
      <dgm:spPr/>
    </dgm:pt>
    <dgm:pt modelId="{A3B92B16-4FAC-4D40-8F5C-236803138657}" type="pres">
      <dgm:prSet presAssocID="{0E1849C8-56E6-4A1A-854E-624E35BD65A3}" presName="rectComp" presStyleCnt="0"/>
      <dgm:spPr/>
    </dgm:pt>
    <dgm:pt modelId="{E6EF250C-AC4C-43FB-B7FC-E13B7B4330AD}" type="pres">
      <dgm:prSet presAssocID="{0E1849C8-56E6-4A1A-854E-624E35BD65A3}" presName="bgRect" presStyleLbl="bgShp" presStyleIdx="4" presStyleCnt="5"/>
      <dgm:spPr/>
    </dgm:pt>
    <dgm:pt modelId="{78A51740-37A6-40F7-9153-14FCAD6B823C}" type="pres">
      <dgm:prSet presAssocID="{0E1849C8-56E6-4A1A-854E-624E35BD65A3}" presName="bgRectTx" presStyleLbl="bgShp" presStyleIdx="4" presStyleCnt="5">
        <dgm:presLayoutVars>
          <dgm:bulletEnabled val="1"/>
        </dgm:presLayoutVars>
      </dgm:prSet>
      <dgm:spPr/>
    </dgm:pt>
  </dgm:ptLst>
  <dgm:cxnLst>
    <dgm:cxn modelId="{0B3F8D05-4069-4E5E-9C70-CE5294F5EEB2}" type="presOf" srcId="{EB9ACE35-8E04-4BD5-8776-74F9551394C7}" destId="{52CF48FE-FE11-4725-B3F1-564A73F5B87E}" srcOrd="1" destOrd="0" presId="urn:microsoft.com/office/officeart/2005/8/layout/hierarchy5"/>
    <dgm:cxn modelId="{D5885B07-5541-4D87-B6D7-C3A85463F8CA}" srcId="{DF800799-1366-4B06-BEC3-8C577FC7D0DD}" destId="{152E9409-18E5-454F-B452-5F6F9499F61D}" srcOrd="0" destOrd="0" parTransId="{540765C9-B024-44B4-9AE8-519BFCDEA995}" sibTransId="{ACCCE310-D1B3-47C5-BF3A-1DB35909187D}"/>
    <dgm:cxn modelId="{608D0B09-4A82-4407-8B3D-D973189387B8}" type="presOf" srcId="{894C2A83-680B-47A4-AE14-7EDA92BE4EA0}" destId="{BBFCA56A-4112-471F-96D2-B9D70A870D0A}" srcOrd="0" destOrd="0" presId="urn:microsoft.com/office/officeart/2005/8/layout/hierarchy5"/>
    <dgm:cxn modelId="{EC9A360A-5A21-4EDD-9BE1-14B1A7D8B032}" type="presOf" srcId="{F57836C1-3575-4837-B2A9-8FE134AD4590}" destId="{4FBE8454-FD7C-4E7F-8F93-7CD15CB52174}" srcOrd="1" destOrd="0" presId="urn:microsoft.com/office/officeart/2005/8/layout/hierarchy5"/>
    <dgm:cxn modelId="{4982060B-B314-4307-9B0E-3B1AD3942884}" type="presOf" srcId="{E4FB5636-DB4C-4A9E-98CC-7D0CCD546197}" destId="{1A01ACBA-0339-43F6-8A7D-B0066C6852EF}" srcOrd="0" destOrd="0" presId="urn:microsoft.com/office/officeart/2005/8/layout/hierarchy5"/>
    <dgm:cxn modelId="{75C5D20F-AA22-4B11-AD3F-146492B64E30}" type="presOf" srcId="{0829424C-4015-4DDF-AD5E-1EAAB8EBA062}" destId="{C17E2068-405A-41AA-99A6-5B8C40BC91B8}" srcOrd="1" destOrd="0" presId="urn:microsoft.com/office/officeart/2005/8/layout/hierarchy5"/>
    <dgm:cxn modelId="{F8A7CE12-9BF2-44F0-A498-F84A2E2CA962}" srcId="{1885F80E-87E1-4D94-BD3E-ED610E22A14F}" destId="{0E1849C8-56E6-4A1A-854E-624E35BD65A3}" srcOrd="5" destOrd="0" parTransId="{240464C3-6DE7-4BD1-B6C9-46AC63DBE18F}" sibTransId="{585E0FB6-9F60-41F7-996C-A99886FF33D4}"/>
    <dgm:cxn modelId="{A1B36F1C-F44D-4366-97F1-6DEE6A458909}" srcId="{1885F80E-87E1-4D94-BD3E-ED610E22A14F}" destId="{EE75C097-FE67-40DB-BECA-BEC7FCFE3D87}" srcOrd="1" destOrd="0" parTransId="{A302D166-ED37-43A5-BDDB-B398EC8A1301}" sibTransId="{C8E602D5-BACE-4286-99F3-8D4FAB0B2F30}"/>
    <dgm:cxn modelId="{07716D24-0CEE-42B6-9F8E-E6A4B2DF2663}" srcId="{152E9409-18E5-454F-B452-5F6F9499F61D}" destId="{AE7C5B2F-7127-4B12-B355-99607DB68C23}" srcOrd="1" destOrd="0" parTransId="{A1BE18C8-B462-4FB9-AF54-9F7EDC2E1841}" sibTransId="{F03571E0-47A0-49F8-9755-A42A467CE6D0}"/>
    <dgm:cxn modelId="{22617126-02A2-4819-B753-4328049AB582}" type="presOf" srcId="{0B16C609-4BFB-4A19-91C4-9BA84D2104B9}" destId="{43047526-FC43-4DC6-AE0B-078B5EDE4AFB}" srcOrd="1" destOrd="0" presId="urn:microsoft.com/office/officeart/2005/8/layout/hierarchy5"/>
    <dgm:cxn modelId="{D9834E29-EB80-490E-B9F4-CB73E72EB7F2}" type="presOf" srcId="{BC326B0E-43BA-4523-A75E-F1BA4E2395D3}" destId="{3CF4668F-8312-4060-A378-76E6B0BF6231}" srcOrd="0" destOrd="0" presId="urn:microsoft.com/office/officeart/2005/8/layout/hierarchy5"/>
    <dgm:cxn modelId="{41CD4232-B74C-4CE0-90EC-DB1F380888C5}" type="presOf" srcId="{968AC9AB-11D0-412E-83BA-7FF5E91424EF}" destId="{B1D0AF92-3922-4056-B76B-79589C61C46D}" srcOrd="0" destOrd="0" presId="urn:microsoft.com/office/officeart/2005/8/layout/hierarchy5"/>
    <dgm:cxn modelId="{4027E538-7E2E-45A8-BC2A-A907A789B9ED}" type="presOf" srcId="{8BF2A928-88FD-4441-BD23-6F8A3F0A1B51}" destId="{DA8FBE57-ACA9-4A7F-B434-98B05BE55828}" srcOrd="0" destOrd="0" presId="urn:microsoft.com/office/officeart/2005/8/layout/hierarchy5"/>
    <dgm:cxn modelId="{0B8AF93A-23E5-4F2F-A99D-2007557AF1C8}" srcId="{8BF2A928-88FD-4441-BD23-6F8A3F0A1B51}" destId="{E4FB5636-DB4C-4A9E-98CC-7D0CCD546197}" srcOrd="0" destOrd="0" parTransId="{39375C94-2361-4F3E-B554-225BC782B80A}" sibTransId="{78A08CB7-93B9-4D48-A8EF-E41F09A826B1}"/>
    <dgm:cxn modelId="{43D1523D-9DFC-4B88-BCA0-046CC8BFA758}" type="presOf" srcId="{968AC9AB-11D0-412E-83BA-7FF5E91424EF}" destId="{F866CF2A-BDAC-4B34-9CF1-8B481CE082BE}" srcOrd="1" destOrd="0" presId="urn:microsoft.com/office/officeart/2005/8/layout/hierarchy5"/>
    <dgm:cxn modelId="{AB43B83D-876B-4FAC-B7AD-AB7F03BE1794}" type="presOf" srcId="{540765C9-B024-44B4-9AE8-519BFCDEA995}" destId="{1AECFD1D-2024-4C5C-A4BE-30F11D49090E}" srcOrd="1" destOrd="0" presId="urn:microsoft.com/office/officeart/2005/8/layout/hierarchy5"/>
    <dgm:cxn modelId="{9E9BCA3E-3D95-4220-B3B7-B7E8D6DA93A5}" type="presOf" srcId="{A1BE18C8-B462-4FB9-AF54-9F7EDC2E1841}" destId="{6126C50E-70F5-4891-B404-D60DF18C955E}" srcOrd="1" destOrd="0" presId="urn:microsoft.com/office/officeart/2005/8/layout/hierarchy5"/>
    <dgm:cxn modelId="{A96AF63F-6353-439C-92AC-9DCE84068850}" type="presOf" srcId="{10B74CA2-A88B-48C5-99E4-B205E5947F5A}" destId="{D9FC3545-A2B6-4E59-8624-FC150C829DE3}" srcOrd="0" destOrd="0" presId="urn:microsoft.com/office/officeart/2005/8/layout/hierarchy5"/>
    <dgm:cxn modelId="{BD521C5D-ED08-45FE-B76D-C848A69E2CBC}" srcId="{582E6523-A6B8-467A-84FE-6FEC70DF71F6}" destId="{3A6814B3-377E-491D-BEA0-1E4C783B3122}" srcOrd="1" destOrd="0" parTransId="{0829424C-4015-4DDF-AD5E-1EAAB8EBA062}" sibTransId="{0A9A67FE-DA91-4706-A898-482045DD6287}"/>
    <dgm:cxn modelId="{F7A8ED5F-5A35-4DBB-B03E-15A9399D456E}" srcId="{1885F80E-87E1-4D94-BD3E-ED610E22A14F}" destId="{968AC9AB-11D0-412E-83BA-7FF5E91424EF}" srcOrd="4" destOrd="0" parTransId="{86BB6558-1885-43ED-9BF2-042CA36F9241}" sibTransId="{45C3612A-2305-4AC3-963C-24AA9A6CAAC9}"/>
    <dgm:cxn modelId="{E980CE61-6319-4516-A21A-761F25E15A24}" srcId="{1885F80E-87E1-4D94-BD3E-ED610E22A14F}" destId="{EB9ACE35-8E04-4BD5-8776-74F9551394C7}" srcOrd="3" destOrd="0" parTransId="{38052B63-7877-4301-9E0F-285868D17568}" sibTransId="{F175FCA5-1BF4-4993-9409-B0EE6E675417}"/>
    <dgm:cxn modelId="{36B20562-988B-4827-AC36-30E1637AA7B6}" type="presOf" srcId="{3024737E-7264-4692-A548-80C1B489547C}" destId="{A8F3A050-DF07-4DDB-8C80-02254D3FA0D0}" srcOrd="1" destOrd="0" presId="urn:microsoft.com/office/officeart/2005/8/layout/hierarchy5"/>
    <dgm:cxn modelId="{04D09846-A1CC-40CC-BEBE-11A357BC17ED}" type="presOf" srcId="{39375C94-2361-4F3E-B554-225BC782B80A}" destId="{4A32F9C5-624D-4C53-BB1A-B2729C881364}" srcOrd="0" destOrd="0" presId="urn:microsoft.com/office/officeart/2005/8/layout/hierarchy5"/>
    <dgm:cxn modelId="{FCABF96A-3FA7-48F9-A0F8-5B0A4A239E6C}" type="presOf" srcId="{0E1849C8-56E6-4A1A-854E-624E35BD65A3}" destId="{E6EF250C-AC4C-43FB-B7FC-E13B7B4330AD}" srcOrd="0" destOrd="0" presId="urn:microsoft.com/office/officeart/2005/8/layout/hierarchy5"/>
    <dgm:cxn modelId="{C473786B-563C-4712-8DA8-E38049F3BC19}" type="presOf" srcId="{EE75C097-FE67-40DB-BECA-BEC7FCFE3D87}" destId="{02CC6015-E950-4682-B36C-2A19AD653A84}" srcOrd="0" destOrd="0" presId="urn:microsoft.com/office/officeart/2005/8/layout/hierarchy5"/>
    <dgm:cxn modelId="{6F74A671-3454-4A2D-A6BE-1D13C05C008D}" type="presOf" srcId="{894C2A83-680B-47A4-AE14-7EDA92BE4EA0}" destId="{360301FC-E549-4F93-9FF9-9AE9CD5AFD7B}" srcOrd="1" destOrd="0" presId="urn:microsoft.com/office/officeart/2005/8/layout/hierarchy5"/>
    <dgm:cxn modelId="{8BD14773-E9B3-4C89-8C6E-059398F05332}" type="presOf" srcId="{582E6523-A6B8-467A-84FE-6FEC70DF71F6}" destId="{9303516C-20A2-409A-9568-6D79F7391A73}" srcOrd="0" destOrd="0" presId="urn:microsoft.com/office/officeart/2005/8/layout/hierarchy5"/>
    <dgm:cxn modelId="{F5E46953-EDCD-4C09-A738-45B6877C49DE}" srcId="{582E6523-A6B8-467A-84FE-6FEC70DF71F6}" destId="{BC326B0E-43BA-4523-A75E-F1BA4E2395D3}" srcOrd="0" destOrd="0" parTransId="{3024737E-7264-4692-A548-80C1B489547C}" sibTransId="{9E7B7C03-E452-48FD-9722-D5323D3A5E0E}"/>
    <dgm:cxn modelId="{6EC4F279-9769-446F-9C8B-13DF629B2F18}" type="presOf" srcId="{D690FC4E-FAFD-4DE1-AF92-7B0C5DC856F2}" destId="{2953410E-3B6A-4420-ADBB-ACA39AB7E67A}" srcOrd="0" destOrd="0" presId="urn:microsoft.com/office/officeart/2005/8/layout/hierarchy5"/>
    <dgm:cxn modelId="{408E2E7F-F234-4706-9FF4-F0B1B0310BE3}" type="presOf" srcId="{0E1849C8-56E6-4A1A-854E-624E35BD65A3}" destId="{78A51740-37A6-40F7-9153-14FCAD6B823C}" srcOrd="1" destOrd="0" presId="urn:microsoft.com/office/officeart/2005/8/layout/hierarchy5"/>
    <dgm:cxn modelId="{5602D781-B2CD-4829-9275-5F744A6BCFF0}" type="presOf" srcId="{540765C9-B024-44B4-9AE8-519BFCDEA995}" destId="{D81D276A-709A-46E2-928E-D6210FAEC5AF}" srcOrd="0" destOrd="0" presId="urn:microsoft.com/office/officeart/2005/8/layout/hierarchy5"/>
    <dgm:cxn modelId="{F6181482-55B7-4CD4-9BA7-90E0F59B2339}" type="presOf" srcId="{39375C94-2361-4F3E-B554-225BC782B80A}" destId="{6ED463A8-1521-43BB-8277-8FADAD9B8098}" srcOrd="1" destOrd="0" presId="urn:microsoft.com/office/officeart/2005/8/layout/hierarchy5"/>
    <dgm:cxn modelId="{89F8C285-2326-4992-885D-FB5F298D2080}" srcId="{1885F80E-87E1-4D94-BD3E-ED610E22A14F}" destId="{DF800799-1366-4B06-BEC3-8C577FC7D0DD}" srcOrd="0" destOrd="0" parTransId="{63010696-8DB2-42FB-970D-203ABF352767}" sibTransId="{09C0CCD0-7B7D-4C9C-A655-F59BF573B989}"/>
    <dgm:cxn modelId="{1491DB89-4DC2-4999-8916-9411827C40E6}" srcId="{DF800799-1366-4B06-BEC3-8C577FC7D0DD}" destId="{8BF2A928-88FD-4441-BD23-6F8A3F0A1B51}" srcOrd="1" destOrd="0" parTransId="{8BFF9A7F-FEB6-4EDF-84AE-2A986BCC88B3}" sibTransId="{CCCFA426-0C47-44DB-93EC-734C5D06EBAD}"/>
    <dgm:cxn modelId="{B9F6238E-741A-4AAF-B814-FA574E60960B}" type="presOf" srcId="{8BFF9A7F-FEB6-4EDF-84AE-2A986BCC88B3}" destId="{D854FF2D-A173-4BA4-AA1E-3B79464C5A80}" srcOrd="1" destOrd="0" presId="urn:microsoft.com/office/officeart/2005/8/layout/hierarchy5"/>
    <dgm:cxn modelId="{F5431A91-7464-4BA7-A697-0FA99980A57E}" type="presOf" srcId="{EE75C097-FE67-40DB-BECA-BEC7FCFE3D87}" destId="{0CA3A1CD-3A1F-4595-834F-9323D52E0B1A}" srcOrd="1" destOrd="0" presId="urn:microsoft.com/office/officeart/2005/8/layout/hierarchy5"/>
    <dgm:cxn modelId="{6E424A91-D794-4728-8286-7324EF00B2F1}" type="presOf" srcId="{03D79FE3-8970-413C-9DE5-F52F12558F1B}" destId="{81BF3E8F-3624-420C-8DE7-15A870CB2599}" srcOrd="0" destOrd="0" presId="urn:microsoft.com/office/officeart/2005/8/layout/hierarchy5"/>
    <dgm:cxn modelId="{54C2ED94-678C-4414-9CD0-D34109E66512}" type="presOf" srcId="{3024737E-7264-4692-A548-80C1B489547C}" destId="{A5FEE92F-B30C-4BE3-BDBD-4324373AE959}" srcOrd="0" destOrd="0" presId="urn:microsoft.com/office/officeart/2005/8/layout/hierarchy5"/>
    <dgm:cxn modelId="{C43123AF-6A24-478D-B5BD-E29E7FEC35C1}" type="presOf" srcId="{0829424C-4015-4DDF-AD5E-1EAAB8EBA062}" destId="{C4A08F74-8DA5-4147-A45D-76B1E540BE62}" srcOrd="0" destOrd="0" presId="urn:microsoft.com/office/officeart/2005/8/layout/hierarchy5"/>
    <dgm:cxn modelId="{FB5B2BB1-FEA7-4289-B340-4E1FCA9A2B17}" type="presOf" srcId="{DF800799-1366-4B06-BEC3-8C577FC7D0DD}" destId="{D08650A9-A8CC-4DB9-9880-C1205D2244C5}" srcOrd="0" destOrd="0" presId="urn:microsoft.com/office/officeart/2005/8/layout/hierarchy5"/>
    <dgm:cxn modelId="{C98F61B1-1D6F-4BCA-BC5C-48B6B9BB308D}" type="presOf" srcId="{AE7C5B2F-7127-4B12-B355-99607DB68C23}" destId="{9BC61C62-EFD8-4C81-B1AF-AADC409F959F}" srcOrd="0" destOrd="0" presId="urn:microsoft.com/office/officeart/2005/8/layout/hierarchy5"/>
    <dgm:cxn modelId="{65B705B3-19A3-47F2-9284-A28908543659}" type="presOf" srcId="{3A6814B3-377E-491D-BEA0-1E4C783B3122}" destId="{2A3582DA-5AD2-42E2-9492-4321684B4E44}" srcOrd="0" destOrd="0" presId="urn:microsoft.com/office/officeart/2005/8/layout/hierarchy5"/>
    <dgm:cxn modelId="{169564BC-7068-4CEC-BACB-1978515689ED}" srcId="{03D79FE3-8970-413C-9DE5-F52F12558F1B}" destId="{D690FC4E-FAFD-4DE1-AF92-7B0C5DC856F2}" srcOrd="1" destOrd="0" parTransId="{10B74CA2-A88B-48C5-99E4-B205E5947F5A}" sibTransId="{98814ECF-0F3F-44DC-A5E2-E611A5EF98FB}"/>
    <dgm:cxn modelId="{2D953EC0-AC01-45BD-B40C-355F7DA951F6}" type="presOf" srcId="{10B74CA2-A88B-48C5-99E4-B205E5947F5A}" destId="{7AE2C54C-9441-4D6F-BD40-1B4395F7EAA0}" srcOrd="1" destOrd="0" presId="urn:microsoft.com/office/officeart/2005/8/layout/hierarchy5"/>
    <dgm:cxn modelId="{867B2DC1-AD0F-421D-B27B-097C56D94611}" type="presOf" srcId="{F57836C1-3575-4837-B2A9-8FE134AD4590}" destId="{D8C68C73-664B-4A22-8E1A-0B8839AE2111}" srcOrd="0" destOrd="0" presId="urn:microsoft.com/office/officeart/2005/8/layout/hierarchy5"/>
    <dgm:cxn modelId="{061691C9-636C-4005-94C8-7DF9E6677350}" type="presOf" srcId="{152E9409-18E5-454F-B452-5F6F9499F61D}" destId="{F9963254-F89B-4EFF-AC4C-7E0F06EC8728}" srcOrd="0" destOrd="0" presId="urn:microsoft.com/office/officeart/2005/8/layout/hierarchy5"/>
    <dgm:cxn modelId="{CDA38AD1-5966-4EAF-9397-58DF4DC34843}" srcId="{03D79FE3-8970-413C-9DE5-F52F12558F1B}" destId="{582E6523-A6B8-467A-84FE-6FEC70DF71F6}" srcOrd="0" destOrd="0" parTransId="{894C2A83-680B-47A4-AE14-7EDA92BE4EA0}" sibTransId="{CCF0E915-F288-4710-94C3-057FC9AD29B3}"/>
    <dgm:cxn modelId="{45A2A7D3-0947-4F3B-A5BD-1F813D95B55E}" type="presOf" srcId="{A1BE18C8-B462-4FB9-AF54-9F7EDC2E1841}" destId="{61D7AAA7-EE4B-4382-A93C-A5F85EFF0449}" srcOrd="0" destOrd="0" presId="urn:microsoft.com/office/officeart/2005/8/layout/hierarchy5"/>
    <dgm:cxn modelId="{9891F1DD-2759-42CB-AF9A-08C197684CE4}" type="presOf" srcId="{0B16C609-4BFB-4A19-91C4-9BA84D2104B9}" destId="{02ABBB39-9375-493F-A5F8-4F65BA689FBE}" srcOrd="0" destOrd="0" presId="urn:microsoft.com/office/officeart/2005/8/layout/hierarchy5"/>
    <dgm:cxn modelId="{A931BFDF-C0D1-437C-A75F-0CEB47DBAA94}" srcId="{1885F80E-87E1-4D94-BD3E-ED610E22A14F}" destId="{0B16C609-4BFB-4A19-91C4-9BA84D2104B9}" srcOrd="2" destOrd="0" parTransId="{8F75D596-9EDD-47BE-AC83-8053F03CFA1C}" sibTransId="{42201FF3-95EE-4717-818D-FBE8B7FFB037}"/>
    <dgm:cxn modelId="{5A74DDE1-953A-4FC6-A274-56E4482AA834}" type="presOf" srcId="{1885F80E-87E1-4D94-BD3E-ED610E22A14F}" destId="{A58B3EA7-2FD0-4A5F-8E5F-80CD410343D4}" srcOrd="0" destOrd="0" presId="urn:microsoft.com/office/officeart/2005/8/layout/hierarchy5"/>
    <dgm:cxn modelId="{32E0B6EA-CE82-453C-935F-755263A09C49}" type="presOf" srcId="{8BFF9A7F-FEB6-4EDF-84AE-2A986BCC88B3}" destId="{6EE07868-8C57-4043-ADCF-2B85B33FD1B7}" srcOrd="0" destOrd="0" presId="urn:microsoft.com/office/officeart/2005/8/layout/hierarchy5"/>
    <dgm:cxn modelId="{8F1476EE-A328-42FC-ACD1-D5205802C4E9}" srcId="{152E9409-18E5-454F-B452-5F6F9499F61D}" destId="{03D79FE3-8970-413C-9DE5-F52F12558F1B}" srcOrd="0" destOrd="0" parTransId="{F57836C1-3575-4837-B2A9-8FE134AD4590}" sibTransId="{4DC91634-DE61-4CFF-9335-945571585B04}"/>
    <dgm:cxn modelId="{4ABC48F4-F015-434F-834A-ED0F0C3C59DF}" type="presOf" srcId="{EB9ACE35-8E04-4BD5-8776-74F9551394C7}" destId="{32550C25-7278-407B-8A89-CB9FA5F08577}" srcOrd="0" destOrd="0" presId="urn:microsoft.com/office/officeart/2005/8/layout/hierarchy5"/>
    <dgm:cxn modelId="{7B09C017-912A-4153-87FF-816732517023}" type="presParOf" srcId="{A58B3EA7-2FD0-4A5F-8E5F-80CD410343D4}" destId="{D990DA51-3BCD-4F27-B6C8-E0863EF6F830}" srcOrd="0" destOrd="0" presId="urn:microsoft.com/office/officeart/2005/8/layout/hierarchy5"/>
    <dgm:cxn modelId="{F288B287-A2F1-42BE-9D19-A7BEE517B0BB}" type="presParOf" srcId="{D990DA51-3BCD-4F27-B6C8-E0863EF6F830}" destId="{BE9DCB3A-A9DE-45E9-9A61-4883E700B21A}" srcOrd="0" destOrd="0" presId="urn:microsoft.com/office/officeart/2005/8/layout/hierarchy5"/>
    <dgm:cxn modelId="{01467A29-2DCD-4DDC-9071-FE9B24870F0C}" type="presParOf" srcId="{D990DA51-3BCD-4F27-B6C8-E0863EF6F830}" destId="{5F50CD78-A1CF-4137-B581-420FD8EDBC6B}" srcOrd="1" destOrd="0" presId="urn:microsoft.com/office/officeart/2005/8/layout/hierarchy5"/>
    <dgm:cxn modelId="{63EDA3F1-1230-4AAB-9D0A-7605C54D8C59}" type="presParOf" srcId="{5F50CD78-A1CF-4137-B581-420FD8EDBC6B}" destId="{6A449AE8-93DD-4E6F-96F6-A464B954FFBF}" srcOrd="0" destOrd="0" presId="urn:microsoft.com/office/officeart/2005/8/layout/hierarchy5"/>
    <dgm:cxn modelId="{FDE86742-F9B0-4E09-BADE-D0D8E8710DE1}" type="presParOf" srcId="{6A449AE8-93DD-4E6F-96F6-A464B954FFBF}" destId="{D08650A9-A8CC-4DB9-9880-C1205D2244C5}" srcOrd="0" destOrd="0" presId="urn:microsoft.com/office/officeart/2005/8/layout/hierarchy5"/>
    <dgm:cxn modelId="{1AB558D1-2AD8-4084-9757-F629F0E1FFBF}" type="presParOf" srcId="{6A449AE8-93DD-4E6F-96F6-A464B954FFBF}" destId="{402AC2F3-5720-4DFC-9E47-B3CDB77F9B04}" srcOrd="1" destOrd="0" presId="urn:microsoft.com/office/officeart/2005/8/layout/hierarchy5"/>
    <dgm:cxn modelId="{A2F9D1A8-314F-47F8-B87D-28AD415161D7}" type="presParOf" srcId="{402AC2F3-5720-4DFC-9E47-B3CDB77F9B04}" destId="{D81D276A-709A-46E2-928E-D6210FAEC5AF}" srcOrd="0" destOrd="0" presId="urn:microsoft.com/office/officeart/2005/8/layout/hierarchy5"/>
    <dgm:cxn modelId="{9AAC500A-EAA8-4B8C-85B2-3DE2605EA674}" type="presParOf" srcId="{D81D276A-709A-46E2-928E-D6210FAEC5AF}" destId="{1AECFD1D-2024-4C5C-A4BE-30F11D49090E}" srcOrd="0" destOrd="0" presId="urn:microsoft.com/office/officeart/2005/8/layout/hierarchy5"/>
    <dgm:cxn modelId="{0D7EC84B-9645-408F-909D-4D732196BAA6}" type="presParOf" srcId="{402AC2F3-5720-4DFC-9E47-B3CDB77F9B04}" destId="{49D94DF3-0E35-41CB-96F7-AEE08F51253D}" srcOrd="1" destOrd="0" presId="urn:microsoft.com/office/officeart/2005/8/layout/hierarchy5"/>
    <dgm:cxn modelId="{F653B9CA-33A6-45F6-88B4-893D625200E2}" type="presParOf" srcId="{49D94DF3-0E35-41CB-96F7-AEE08F51253D}" destId="{F9963254-F89B-4EFF-AC4C-7E0F06EC8728}" srcOrd="0" destOrd="0" presId="urn:microsoft.com/office/officeart/2005/8/layout/hierarchy5"/>
    <dgm:cxn modelId="{E40ED612-6873-40D9-A52B-09B027E5042A}" type="presParOf" srcId="{49D94DF3-0E35-41CB-96F7-AEE08F51253D}" destId="{0771AFAC-DD85-4E04-8E85-53FE5B8DAEFF}" srcOrd="1" destOrd="0" presId="urn:microsoft.com/office/officeart/2005/8/layout/hierarchy5"/>
    <dgm:cxn modelId="{DBF30010-1249-4907-A904-541D40317257}" type="presParOf" srcId="{0771AFAC-DD85-4E04-8E85-53FE5B8DAEFF}" destId="{D8C68C73-664B-4A22-8E1A-0B8839AE2111}" srcOrd="0" destOrd="0" presId="urn:microsoft.com/office/officeart/2005/8/layout/hierarchy5"/>
    <dgm:cxn modelId="{17A5FA1D-B2F1-457C-BFD6-047A8379E672}" type="presParOf" srcId="{D8C68C73-664B-4A22-8E1A-0B8839AE2111}" destId="{4FBE8454-FD7C-4E7F-8F93-7CD15CB52174}" srcOrd="0" destOrd="0" presId="urn:microsoft.com/office/officeart/2005/8/layout/hierarchy5"/>
    <dgm:cxn modelId="{3551D9FA-D9A1-48A8-8C37-A1AF94FA65DA}" type="presParOf" srcId="{0771AFAC-DD85-4E04-8E85-53FE5B8DAEFF}" destId="{947D3E01-6BB7-453E-A39B-F9B0C0777C26}" srcOrd="1" destOrd="0" presId="urn:microsoft.com/office/officeart/2005/8/layout/hierarchy5"/>
    <dgm:cxn modelId="{2D540D4B-E51E-4857-B8C1-EC2BB8ECDD55}" type="presParOf" srcId="{947D3E01-6BB7-453E-A39B-F9B0C0777C26}" destId="{81BF3E8F-3624-420C-8DE7-15A870CB2599}" srcOrd="0" destOrd="0" presId="urn:microsoft.com/office/officeart/2005/8/layout/hierarchy5"/>
    <dgm:cxn modelId="{37488618-9493-4576-B71D-A5C7D133067A}" type="presParOf" srcId="{947D3E01-6BB7-453E-A39B-F9B0C0777C26}" destId="{7038269B-B15A-4BAA-ACC4-7C645C127C91}" srcOrd="1" destOrd="0" presId="urn:microsoft.com/office/officeart/2005/8/layout/hierarchy5"/>
    <dgm:cxn modelId="{1F0D2CC4-F482-4CDF-A942-A50E48B61EDE}" type="presParOf" srcId="{7038269B-B15A-4BAA-ACC4-7C645C127C91}" destId="{BBFCA56A-4112-471F-96D2-B9D70A870D0A}" srcOrd="0" destOrd="0" presId="urn:microsoft.com/office/officeart/2005/8/layout/hierarchy5"/>
    <dgm:cxn modelId="{77618A31-F5C0-4AD9-8721-183F9FDCEA49}" type="presParOf" srcId="{BBFCA56A-4112-471F-96D2-B9D70A870D0A}" destId="{360301FC-E549-4F93-9FF9-9AE9CD5AFD7B}" srcOrd="0" destOrd="0" presId="urn:microsoft.com/office/officeart/2005/8/layout/hierarchy5"/>
    <dgm:cxn modelId="{59F7C836-451C-4F0A-B3C1-765A142E2285}" type="presParOf" srcId="{7038269B-B15A-4BAA-ACC4-7C645C127C91}" destId="{71E99AA9-64BB-4FB8-94E2-DCDD5A4CB9AC}" srcOrd="1" destOrd="0" presId="urn:microsoft.com/office/officeart/2005/8/layout/hierarchy5"/>
    <dgm:cxn modelId="{DC43F883-A768-4A0A-B06E-0B6F48979947}" type="presParOf" srcId="{71E99AA9-64BB-4FB8-94E2-DCDD5A4CB9AC}" destId="{9303516C-20A2-409A-9568-6D79F7391A73}" srcOrd="0" destOrd="0" presId="urn:microsoft.com/office/officeart/2005/8/layout/hierarchy5"/>
    <dgm:cxn modelId="{DC235ACE-E02E-4EF4-8E08-E2B6C50F8724}" type="presParOf" srcId="{71E99AA9-64BB-4FB8-94E2-DCDD5A4CB9AC}" destId="{F735FDBA-F913-499A-B84A-B95CC9FE232B}" srcOrd="1" destOrd="0" presId="urn:microsoft.com/office/officeart/2005/8/layout/hierarchy5"/>
    <dgm:cxn modelId="{94164FD4-1D22-4262-A396-0FCFA78FFC40}" type="presParOf" srcId="{F735FDBA-F913-499A-B84A-B95CC9FE232B}" destId="{A5FEE92F-B30C-4BE3-BDBD-4324373AE959}" srcOrd="0" destOrd="0" presId="urn:microsoft.com/office/officeart/2005/8/layout/hierarchy5"/>
    <dgm:cxn modelId="{2FCEF184-A0BC-49B4-9FA3-3D764EBF7A4B}" type="presParOf" srcId="{A5FEE92F-B30C-4BE3-BDBD-4324373AE959}" destId="{A8F3A050-DF07-4DDB-8C80-02254D3FA0D0}" srcOrd="0" destOrd="0" presId="urn:microsoft.com/office/officeart/2005/8/layout/hierarchy5"/>
    <dgm:cxn modelId="{DDD838BE-A40E-41BB-8EBC-48D556DE3882}" type="presParOf" srcId="{F735FDBA-F913-499A-B84A-B95CC9FE232B}" destId="{59F48E7E-0C46-42CA-A541-19760B80719E}" srcOrd="1" destOrd="0" presId="urn:microsoft.com/office/officeart/2005/8/layout/hierarchy5"/>
    <dgm:cxn modelId="{3F00DCB5-0CD9-4554-9C81-D8E85B32C7AC}" type="presParOf" srcId="{59F48E7E-0C46-42CA-A541-19760B80719E}" destId="{3CF4668F-8312-4060-A378-76E6B0BF6231}" srcOrd="0" destOrd="0" presId="urn:microsoft.com/office/officeart/2005/8/layout/hierarchy5"/>
    <dgm:cxn modelId="{60656DFB-354A-4F78-9666-051C90861A0F}" type="presParOf" srcId="{59F48E7E-0C46-42CA-A541-19760B80719E}" destId="{C0C0D799-98A8-4DF4-9057-E615090002B7}" srcOrd="1" destOrd="0" presId="urn:microsoft.com/office/officeart/2005/8/layout/hierarchy5"/>
    <dgm:cxn modelId="{EB80BB75-B95D-4654-97B0-75C9D86C50AE}" type="presParOf" srcId="{F735FDBA-F913-499A-B84A-B95CC9FE232B}" destId="{C4A08F74-8DA5-4147-A45D-76B1E540BE62}" srcOrd="2" destOrd="0" presId="urn:microsoft.com/office/officeart/2005/8/layout/hierarchy5"/>
    <dgm:cxn modelId="{AF3DD3D0-15F9-4F83-AA26-4BAC6BA1E4F8}" type="presParOf" srcId="{C4A08F74-8DA5-4147-A45D-76B1E540BE62}" destId="{C17E2068-405A-41AA-99A6-5B8C40BC91B8}" srcOrd="0" destOrd="0" presId="urn:microsoft.com/office/officeart/2005/8/layout/hierarchy5"/>
    <dgm:cxn modelId="{323A4710-1E38-41F9-A184-8C8E94849F6B}" type="presParOf" srcId="{F735FDBA-F913-499A-B84A-B95CC9FE232B}" destId="{ACF046A6-39F5-47FE-A0D3-0132B0D3B072}" srcOrd="3" destOrd="0" presId="urn:microsoft.com/office/officeart/2005/8/layout/hierarchy5"/>
    <dgm:cxn modelId="{A046F6B7-6168-4D77-B771-079F3B2005B6}" type="presParOf" srcId="{ACF046A6-39F5-47FE-A0D3-0132B0D3B072}" destId="{2A3582DA-5AD2-42E2-9492-4321684B4E44}" srcOrd="0" destOrd="0" presId="urn:microsoft.com/office/officeart/2005/8/layout/hierarchy5"/>
    <dgm:cxn modelId="{567B7A69-4057-4469-AF53-3D549880B9F2}" type="presParOf" srcId="{ACF046A6-39F5-47FE-A0D3-0132B0D3B072}" destId="{5DB41D23-8506-47F0-91BF-07F81BAF5DC7}" srcOrd="1" destOrd="0" presId="urn:microsoft.com/office/officeart/2005/8/layout/hierarchy5"/>
    <dgm:cxn modelId="{6EBD0C9A-DC7E-46E7-AB37-B77B40E2C676}" type="presParOf" srcId="{7038269B-B15A-4BAA-ACC4-7C645C127C91}" destId="{D9FC3545-A2B6-4E59-8624-FC150C829DE3}" srcOrd="2" destOrd="0" presId="urn:microsoft.com/office/officeart/2005/8/layout/hierarchy5"/>
    <dgm:cxn modelId="{8952A8FA-99FE-47FA-838A-C046863D7250}" type="presParOf" srcId="{D9FC3545-A2B6-4E59-8624-FC150C829DE3}" destId="{7AE2C54C-9441-4D6F-BD40-1B4395F7EAA0}" srcOrd="0" destOrd="0" presId="urn:microsoft.com/office/officeart/2005/8/layout/hierarchy5"/>
    <dgm:cxn modelId="{676C68AD-54AF-437C-ACD2-2F7A681CD728}" type="presParOf" srcId="{7038269B-B15A-4BAA-ACC4-7C645C127C91}" destId="{209DB3FB-1EC2-4DD8-8B18-27826BE6AB57}" srcOrd="3" destOrd="0" presId="urn:microsoft.com/office/officeart/2005/8/layout/hierarchy5"/>
    <dgm:cxn modelId="{7802407B-6A5D-48AC-8237-FB7984ADE88D}" type="presParOf" srcId="{209DB3FB-1EC2-4DD8-8B18-27826BE6AB57}" destId="{2953410E-3B6A-4420-ADBB-ACA39AB7E67A}" srcOrd="0" destOrd="0" presId="urn:microsoft.com/office/officeart/2005/8/layout/hierarchy5"/>
    <dgm:cxn modelId="{6D5ED9AB-CBAA-4098-993B-79E897A8427F}" type="presParOf" srcId="{209DB3FB-1EC2-4DD8-8B18-27826BE6AB57}" destId="{DD55509D-6EF3-4491-B29E-F2EDEFBE4303}" srcOrd="1" destOrd="0" presId="urn:microsoft.com/office/officeart/2005/8/layout/hierarchy5"/>
    <dgm:cxn modelId="{8B887ABD-972B-44DF-9EFB-4430C4C5C214}" type="presParOf" srcId="{0771AFAC-DD85-4E04-8E85-53FE5B8DAEFF}" destId="{61D7AAA7-EE4B-4382-A93C-A5F85EFF0449}" srcOrd="2" destOrd="0" presId="urn:microsoft.com/office/officeart/2005/8/layout/hierarchy5"/>
    <dgm:cxn modelId="{6A7E5796-064B-4658-9061-CC01F96F9BEC}" type="presParOf" srcId="{61D7AAA7-EE4B-4382-A93C-A5F85EFF0449}" destId="{6126C50E-70F5-4891-B404-D60DF18C955E}" srcOrd="0" destOrd="0" presId="urn:microsoft.com/office/officeart/2005/8/layout/hierarchy5"/>
    <dgm:cxn modelId="{F176EF45-7343-4138-9EE8-9AE62E7EF280}" type="presParOf" srcId="{0771AFAC-DD85-4E04-8E85-53FE5B8DAEFF}" destId="{716E73D1-8469-4157-9E6D-3ACD47C14923}" srcOrd="3" destOrd="0" presId="urn:microsoft.com/office/officeart/2005/8/layout/hierarchy5"/>
    <dgm:cxn modelId="{67B1FECA-7183-4CB8-B022-FB6BE689BFF4}" type="presParOf" srcId="{716E73D1-8469-4157-9E6D-3ACD47C14923}" destId="{9BC61C62-EFD8-4C81-B1AF-AADC409F959F}" srcOrd="0" destOrd="0" presId="urn:microsoft.com/office/officeart/2005/8/layout/hierarchy5"/>
    <dgm:cxn modelId="{FEA9DEB2-E00F-436A-99DE-E73F0DC4E2C0}" type="presParOf" srcId="{716E73D1-8469-4157-9E6D-3ACD47C14923}" destId="{7F631986-7C73-434B-996B-762A85C76685}" srcOrd="1" destOrd="0" presId="urn:microsoft.com/office/officeart/2005/8/layout/hierarchy5"/>
    <dgm:cxn modelId="{883FB114-49F1-4ECA-8565-957F82BF2888}" type="presParOf" srcId="{402AC2F3-5720-4DFC-9E47-B3CDB77F9B04}" destId="{6EE07868-8C57-4043-ADCF-2B85B33FD1B7}" srcOrd="2" destOrd="0" presId="urn:microsoft.com/office/officeart/2005/8/layout/hierarchy5"/>
    <dgm:cxn modelId="{0693B17F-429E-438D-96F9-CD935673E628}" type="presParOf" srcId="{6EE07868-8C57-4043-ADCF-2B85B33FD1B7}" destId="{D854FF2D-A173-4BA4-AA1E-3B79464C5A80}" srcOrd="0" destOrd="0" presId="urn:microsoft.com/office/officeart/2005/8/layout/hierarchy5"/>
    <dgm:cxn modelId="{0A025EA8-0BF1-45F9-93C9-DD479275C509}" type="presParOf" srcId="{402AC2F3-5720-4DFC-9E47-B3CDB77F9B04}" destId="{3AB4B0A5-379F-4746-AE30-961DC6FB6F94}" srcOrd="3" destOrd="0" presId="urn:microsoft.com/office/officeart/2005/8/layout/hierarchy5"/>
    <dgm:cxn modelId="{EF6B1DDD-6312-42E8-8759-6FEB957211D4}" type="presParOf" srcId="{3AB4B0A5-379F-4746-AE30-961DC6FB6F94}" destId="{DA8FBE57-ACA9-4A7F-B434-98B05BE55828}" srcOrd="0" destOrd="0" presId="urn:microsoft.com/office/officeart/2005/8/layout/hierarchy5"/>
    <dgm:cxn modelId="{CD6B867B-778B-4D44-A8B2-D3B8604BE06E}" type="presParOf" srcId="{3AB4B0A5-379F-4746-AE30-961DC6FB6F94}" destId="{3592223E-B99C-45AA-A0B1-6AA67229BC7B}" srcOrd="1" destOrd="0" presId="urn:microsoft.com/office/officeart/2005/8/layout/hierarchy5"/>
    <dgm:cxn modelId="{8404DC3E-138B-4E14-9700-D75CA2A6E134}" type="presParOf" srcId="{3592223E-B99C-45AA-A0B1-6AA67229BC7B}" destId="{4A32F9C5-624D-4C53-BB1A-B2729C881364}" srcOrd="0" destOrd="0" presId="urn:microsoft.com/office/officeart/2005/8/layout/hierarchy5"/>
    <dgm:cxn modelId="{7071B2AB-3F39-46E2-AF99-827D1BA1486A}" type="presParOf" srcId="{4A32F9C5-624D-4C53-BB1A-B2729C881364}" destId="{6ED463A8-1521-43BB-8277-8FADAD9B8098}" srcOrd="0" destOrd="0" presId="urn:microsoft.com/office/officeart/2005/8/layout/hierarchy5"/>
    <dgm:cxn modelId="{717E02D6-9F44-49EF-9BF0-0B6D4246367F}" type="presParOf" srcId="{3592223E-B99C-45AA-A0B1-6AA67229BC7B}" destId="{069B87B5-7A4A-4E16-994E-E19B905EC6FD}" srcOrd="1" destOrd="0" presId="urn:microsoft.com/office/officeart/2005/8/layout/hierarchy5"/>
    <dgm:cxn modelId="{4E32CAD0-5DA0-4177-920A-5948681B583E}" type="presParOf" srcId="{069B87B5-7A4A-4E16-994E-E19B905EC6FD}" destId="{1A01ACBA-0339-43F6-8A7D-B0066C6852EF}" srcOrd="0" destOrd="0" presId="urn:microsoft.com/office/officeart/2005/8/layout/hierarchy5"/>
    <dgm:cxn modelId="{964AD8CE-85E7-442A-B858-4C7E480D5347}" type="presParOf" srcId="{069B87B5-7A4A-4E16-994E-E19B905EC6FD}" destId="{C1F7F0DD-3EEA-486A-BB54-61B47AAB52B9}" srcOrd="1" destOrd="0" presId="urn:microsoft.com/office/officeart/2005/8/layout/hierarchy5"/>
    <dgm:cxn modelId="{D1447546-ACBD-44CF-B8A0-041E926CF498}" type="presParOf" srcId="{A58B3EA7-2FD0-4A5F-8E5F-80CD410343D4}" destId="{A5AD0FAC-3F4A-4A28-82DA-F3D0429E0C1D}" srcOrd="1" destOrd="0" presId="urn:microsoft.com/office/officeart/2005/8/layout/hierarchy5"/>
    <dgm:cxn modelId="{B53B2851-D950-4DB8-86BA-CDE988ECAF72}" type="presParOf" srcId="{A5AD0FAC-3F4A-4A28-82DA-F3D0429E0C1D}" destId="{1A4C2DBF-B5EE-47D9-8EF1-76B499B00684}" srcOrd="0" destOrd="0" presId="urn:microsoft.com/office/officeart/2005/8/layout/hierarchy5"/>
    <dgm:cxn modelId="{C0B6CC38-5A9E-47DE-8E7C-AC8A1BC9986C}" type="presParOf" srcId="{1A4C2DBF-B5EE-47D9-8EF1-76B499B00684}" destId="{02CC6015-E950-4682-B36C-2A19AD653A84}" srcOrd="0" destOrd="0" presId="urn:microsoft.com/office/officeart/2005/8/layout/hierarchy5"/>
    <dgm:cxn modelId="{CF18E065-CC17-4594-B029-B4688F05E501}" type="presParOf" srcId="{1A4C2DBF-B5EE-47D9-8EF1-76B499B00684}" destId="{0CA3A1CD-3A1F-4595-834F-9323D52E0B1A}" srcOrd="1" destOrd="0" presId="urn:microsoft.com/office/officeart/2005/8/layout/hierarchy5"/>
    <dgm:cxn modelId="{D7935C66-B6A0-42CA-8C94-8A7EC98468BF}" type="presParOf" srcId="{A5AD0FAC-3F4A-4A28-82DA-F3D0429E0C1D}" destId="{53D2FB27-81FA-4E2E-8E42-76956AA29693}" srcOrd="1" destOrd="0" presId="urn:microsoft.com/office/officeart/2005/8/layout/hierarchy5"/>
    <dgm:cxn modelId="{3176CCFC-7E45-4A5B-8DF1-6D270C7152D0}" type="presParOf" srcId="{53D2FB27-81FA-4E2E-8E42-76956AA29693}" destId="{29549CB8-7B7D-4F98-8FBC-E5E4223DDE48}" srcOrd="0" destOrd="0" presId="urn:microsoft.com/office/officeart/2005/8/layout/hierarchy5"/>
    <dgm:cxn modelId="{7B10E083-7413-4EE0-9A03-DE461508874E}" type="presParOf" srcId="{A5AD0FAC-3F4A-4A28-82DA-F3D0429E0C1D}" destId="{74481E52-D0B9-4C4C-B36E-26BA1C47E230}" srcOrd="2" destOrd="0" presId="urn:microsoft.com/office/officeart/2005/8/layout/hierarchy5"/>
    <dgm:cxn modelId="{6BD250BE-5A12-45BB-B87D-F721E55D750B}" type="presParOf" srcId="{74481E52-D0B9-4C4C-B36E-26BA1C47E230}" destId="{02ABBB39-9375-493F-A5F8-4F65BA689FBE}" srcOrd="0" destOrd="0" presId="urn:microsoft.com/office/officeart/2005/8/layout/hierarchy5"/>
    <dgm:cxn modelId="{3B08622F-F3F6-4756-B6F1-54FADD1C1E55}" type="presParOf" srcId="{74481E52-D0B9-4C4C-B36E-26BA1C47E230}" destId="{43047526-FC43-4DC6-AE0B-078B5EDE4AFB}" srcOrd="1" destOrd="0" presId="urn:microsoft.com/office/officeart/2005/8/layout/hierarchy5"/>
    <dgm:cxn modelId="{F3CFB4DF-FCF5-41C7-AE99-BCB1DF9D220A}" type="presParOf" srcId="{A5AD0FAC-3F4A-4A28-82DA-F3D0429E0C1D}" destId="{931042C6-FA37-4D3F-A42E-12543910233E}" srcOrd="3" destOrd="0" presId="urn:microsoft.com/office/officeart/2005/8/layout/hierarchy5"/>
    <dgm:cxn modelId="{2A773565-CCBB-4116-A855-3BA3F6BAC864}" type="presParOf" srcId="{931042C6-FA37-4D3F-A42E-12543910233E}" destId="{B4B8D000-557C-491E-A936-CB8E776B798F}" srcOrd="0" destOrd="0" presId="urn:microsoft.com/office/officeart/2005/8/layout/hierarchy5"/>
    <dgm:cxn modelId="{7D13ECB6-68A1-485D-B8ED-0464FAA17F26}" type="presParOf" srcId="{A5AD0FAC-3F4A-4A28-82DA-F3D0429E0C1D}" destId="{24DA6DC4-F53E-40EB-BB9D-A7101747D341}" srcOrd="4" destOrd="0" presId="urn:microsoft.com/office/officeart/2005/8/layout/hierarchy5"/>
    <dgm:cxn modelId="{F1BDE798-57B4-413D-AEDA-F8F537EB3D81}" type="presParOf" srcId="{24DA6DC4-F53E-40EB-BB9D-A7101747D341}" destId="{32550C25-7278-407B-8A89-CB9FA5F08577}" srcOrd="0" destOrd="0" presId="urn:microsoft.com/office/officeart/2005/8/layout/hierarchy5"/>
    <dgm:cxn modelId="{30582B81-63A2-4F7F-842A-DA093A81EE5D}" type="presParOf" srcId="{24DA6DC4-F53E-40EB-BB9D-A7101747D341}" destId="{52CF48FE-FE11-4725-B3F1-564A73F5B87E}" srcOrd="1" destOrd="0" presId="urn:microsoft.com/office/officeart/2005/8/layout/hierarchy5"/>
    <dgm:cxn modelId="{271E60DA-FEE9-4B83-9233-9C3998B060FB}" type="presParOf" srcId="{A5AD0FAC-3F4A-4A28-82DA-F3D0429E0C1D}" destId="{5DD4D276-93AC-420E-BA46-A8D008966C1E}" srcOrd="5" destOrd="0" presId="urn:microsoft.com/office/officeart/2005/8/layout/hierarchy5"/>
    <dgm:cxn modelId="{5D3E4538-982C-4D99-8B86-A05558C3EED3}" type="presParOf" srcId="{5DD4D276-93AC-420E-BA46-A8D008966C1E}" destId="{CB9D083D-FFCA-46ED-B73A-B27E4E4C1329}" srcOrd="0" destOrd="0" presId="urn:microsoft.com/office/officeart/2005/8/layout/hierarchy5"/>
    <dgm:cxn modelId="{39F013EA-3B12-45AD-80B8-9053A873B37E}" type="presParOf" srcId="{A5AD0FAC-3F4A-4A28-82DA-F3D0429E0C1D}" destId="{B8209E99-230F-43C6-87E8-0F0AF3B7F10C}" srcOrd="6" destOrd="0" presId="urn:microsoft.com/office/officeart/2005/8/layout/hierarchy5"/>
    <dgm:cxn modelId="{E8C378E5-0CF5-490F-8E2B-CFA661B4C468}" type="presParOf" srcId="{B8209E99-230F-43C6-87E8-0F0AF3B7F10C}" destId="{B1D0AF92-3922-4056-B76B-79589C61C46D}" srcOrd="0" destOrd="0" presId="urn:microsoft.com/office/officeart/2005/8/layout/hierarchy5"/>
    <dgm:cxn modelId="{3ACDF4AE-21B9-41D3-B13F-6507000F5A60}" type="presParOf" srcId="{B8209E99-230F-43C6-87E8-0F0AF3B7F10C}" destId="{F866CF2A-BDAC-4B34-9CF1-8B481CE082BE}" srcOrd="1" destOrd="0" presId="urn:microsoft.com/office/officeart/2005/8/layout/hierarchy5"/>
    <dgm:cxn modelId="{841A62CB-E28D-47A4-BB72-9CC1518FE006}" type="presParOf" srcId="{A5AD0FAC-3F4A-4A28-82DA-F3D0429E0C1D}" destId="{3D960AD5-DBFF-43AF-B473-DB43B4B704F1}" srcOrd="7" destOrd="0" presId="urn:microsoft.com/office/officeart/2005/8/layout/hierarchy5"/>
    <dgm:cxn modelId="{1EB61843-719D-483C-9F17-F88D98BE190E}" type="presParOf" srcId="{3D960AD5-DBFF-43AF-B473-DB43B4B704F1}" destId="{BA5CC7C6-8E1A-4694-8282-52339269E348}" srcOrd="0" destOrd="0" presId="urn:microsoft.com/office/officeart/2005/8/layout/hierarchy5"/>
    <dgm:cxn modelId="{C80D9ED9-B259-4FFB-815B-86B8FE716DA8}" type="presParOf" srcId="{A5AD0FAC-3F4A-4A28-82DA-F3D0429E0C1D}" destId="{A3B92B16-4FAC-4D40-8F5C-236803138657}" srcOrd="8" destOrd="0" presId="urn:microsoft.com/office/officeart/2005/8/layout/hierarchy5"/>
    <dgm:cxn modelId="{E0AB0503-2639-4D9C-BA34-326546EE2248}" type="presParOf" srcId="{A3B92B16-4FAC-4D40-8F5C-236803138657}" destId="{E6EF250C-AC4C-43FB-B7FC-E13B7B4330AD}" srcOrd="0" destOrd="0" presId="urn:microsoft.com/office/officeart/2005/8/layout/hierarchy5"/>
    <dgm:cxn modelId="{1F54721C-1197-4409-8DD1-0A6A70CA61BB}" type="presParOf" srcId="{A3B92B16-4FAC-4D40-8F5C-236803138657}" destId="{78A51740-37A6-40F7-9153-14FCAD6B823C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0E00598-3DD3-42B9-B71B-ACF2CBEFD500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7D425AB-5404-4DF1-9B0E-FBB25D8128E3}">
      <dgm:prSet phldrT="[Text]" custT="1"/>
      <dgm:spPr/>
      <dgm:t>
        <a:bodyPr/>
        <a:lstStyle/>
        <a:p>
          <a:r>
            <a:rPr lang="en-US" sz="2000" dirty="0"/>
            <a:t>Access to justice</a:t>
          </a:r>
        </a:p>
      </dgm:t>
    </dgm:pt>
    <dgm:pt modelId="{8DCDE7F9-A8A6-4412-873E-836FF5E2BC36}" type="parTrans" cxnId="{79B7B9BC-B5EB-4DA2-AFB1-A36665E8440E}">
      <dgm:prSet/>
      <dgm:spPr/>
      <dgm:t>
        <a:bodyPr/>
        <a:lstStyle/>
        <a:p>
          <a:endParaRPr lang="en-US"/>
        </a:p>
      </dgm:t>
    </dgm:pt>
    <dgm:pt modelId="{87911903-9942-4B2D-BE45-274E82AC32ED}" type="sibTrans" cxnId="{79B7B9BC-B5EB-4DA2-AFB1-A36665E8440E}">
      <dgm:prSet custT="1"/>
      <dgm:spPr/>
      <dgm:t>
        <a:bodyPr/>
        <a:lstStyle/>
        <a:p>
          <a:r>
            <a:rPr lang="en-US" sz="1600" dirty="0"/>
            <a:t>Stigma and discrimination</a:t>
          </a:r>
        </a:p>
      </dgm:t>
    </dgm:pt>
    <dgm:pt modelId="{C08F76DB-DCDA-4C33-B533-722E9C930524}">
      <dgm:prSet phldrT="[Text]" phldr="1"/>
      <dgm:spPr/>
      <dgm:t>
        <a:bodyPr/>
        <a:lstStyle/>
        <a:p>
          <a:endParaRPr lang="en-US"/>
        </a:p>
      </dgm:t>
    </dgm:pt>
    <dgm:pt modelId="{8FE21480-4E3D-4522-8AE3-533B349FE175}" type="parTrans" cxnId="{90DAEC74-B2EE-4DAC-AD77-80823A8826E5}">
      <dgm:prSet/>
      <dgm:spPr/>
      <dgm:t>
        <a:bodyPr/>
        <a:lstStyle/>
        <a:p>
          <a:endParaRPr lang="en-US"/>
        </a:p>
      </dgm:t>
    </dgm:pt>
    <dgm:pt modelId="{48B003DB-ED91-45B1-A323-9C0F537CBA18}" type="sibTrans" cxnId="{90DAEC74-B2EE-4DAC-AD77-80823A8826E5}">
      <dgm:prSet/>
      <dgm:spPr/>
      <dgm:t>
        <a:bodyPr/>
        <a:lstStyle/>
        <a:p>
          <a:endParaRPr lang="en-US"/>
        </a:p>
      </dgm:t>
    </dgm:pt>
    <dgm:pt modelId="{F88255CD-DDA4-4854-89C7-CA95B870D59E}">
      <dgm:prSet phldrT="[Text]" custT="1"/>
      <dgm:spPr/>
      <dgm:t>
        <a:bodyPr/>
        <a:lstStyle/>
        <a:p>
          <a:r>
            <a:rPr lang="en-US" sz="2400" dirty="0"/>
            <a:t>Human rights</a:t>
          </a:r>
        </a:p>
      </dgm:t>
    </dgm:pt>
    <dgm:pt modelId="{FC67FAEE-94B3-451F-8FE2-BFF9F9ABDC7B}" type="parTrans" cxnId="{7D0B8DDD-A72F-41AC-B477-49266B4760A0}">
      <dgm:prSet/>
      <dgm:spPr/>
      <dgm:t>
        <a:bodyPr/>
        <a:lstStyle/>
        <a:p>
          <a:endParaRPr lang="en-US"/>
        </a:p>
      </dgm:t>
    </dgm:pt>
    <dgm:pt modelId="{EA63C8E4-4031-4D55-95B5-E28F8ED1799B}" type="sibTrans" cxnId="{7D0B8DDD-A72F-41AC-B477-49266B4760A0}">
      <dgm:prSet/>
      <dgm:spPr/>
      <dgm:t>
        <a:bodyPr/>
        <a:lstStyle/>
        <a:p>
          <a:r>
            <a:rPr lang="en-US" dirty="0" err="1"/>
            <a:t>Decrimin-alization</a:t>
          </a:r>
          <a:endParaRPr lang="en-US" dirty="0"/>
        </a:p>
      </dgm:t>
    </dgm:pt>
    <dgm:pt modelId="{4E546700-8C4F-4AD0-993A-3CC66530B6B5}">
      <dgm:prSet phldrT="[Text]" phldr="1"/>
      <dgm:spPr/>
      <dgm:t>
        <a:bodyPr/>
        <a:lstStyle/>
        <a:p>
          <a:endParaRPr lang="en-US"/>
        </a:p>
      </dgm:t>
    </dgm:pt>
    <dgm:pt modelId="{AA78CC95-8DD5-4B57-9626-59B818BB4380}" type="parTrans" cxnId="{AAEF74AF-ABB2-4BC2-9F73-BAEFFBC5AAA2}">
      <dgm:prSet/>
      <dgm:spPr/>
      <dgm:t>
        <a:bodyPr/>
        <a:lstStyle/>
        <a:p>
          <a:endParaRPr lang="en-US"/>
        </a:p>
      </dgm:t>
    </dgm:pt>
    <dgm:pt modelId="{7EEA8A51-3B6C-4F17-AF94-F1B07696462C}" type="sibTrans" cxnId="{AAEF74AF-ABB2-4BC2-9F73-BAEFFBC5AAA2}">
      <dgm:prSet/>
      <dgm:spPr/>
      <dgm:t>
        <a:bodyPr/>
        <a:lstStyle/>
        <a:p>
          <a:endParaRPr lang="en-US"/>
        </a:p>
      </dgm:t>
    </dgm:pt>
    <dgm:pt modelId="{63F7EABB-F3D3-47AC-91CE-2A38B9B2870C}">
      <dgm:prSet phldrT="[Text]" custT="1"/>
      <dgm:spPr/>
      <dgm:t>
        <a:bodyPr/>
        <a:lstStyle/>
        <a:p>
          <a:r>
            <a:rPr lang="en-US" sz="1600" dirty="0"/>
            <a:t>Community involvement</a:t>
          </a:r>
        </a:p>
      </dgm:t>
    </dgm:pt>
    <dgm:pt modelId="{6EB406C8-2286-4569-A168-11D784B1056D}" type="parTrans" cxnId="{F6B4AAEE-A7FF-4522-82D4-8D65596C4837}">
      <dgm:prSet/>
      <dgm:spPr/>
      <dgm:t>
        <a:bodyPr/>
        <a:lstStyle/>
        <a:p>
          <a:endParaRPr lang="en-US"/>
        </a:p>
      </dgm:t>
    </dgm:pt>
    <dgm:pt modelId="{AD89BC91-1292-488D-B572-76F7F5E71D69}" type="sibTrans" cxnId="{F6B4AAEE-A7FF-4522-82D4-8D65596C4837}">
      <dgm:prSet/>
      <dgm:spPr/>
      <dgm:t>
        <a:bodyPr/>
        <a:lstStyle/>
        <a:p>
          <a:r>
            <a:rPr lang="en-US" dirty="0"/>
            <a:t>Prevention of GBV</a:t>
          </a:r>
        </a:p>
      </dgm:t>
    </dgm:pt>
    <dgm:pt modelId="{823F1DDA-57B3-4682-AF17-EC62CC8A1572}">
      <dgm:prSet phldrT="[Text]" phldr="1"/>
      <dgm:spPr/>
      <dgm:t>
        <a:bodyPr/>
        <a:lstStyle/>
        <a:p>
          <a:endParaRPr lang="en-US"/>
        </a:p>
      </dgm:t>
    </dgm:pt>
    <dgm:pt modelId="{C1DFC821-85BA-4913-ADC7-C074B98D5D3B}" type="parTrans" cxnId="{F37D6351-6035-4C37-AFBC-E580BD0B822A}">
      <dgm:prSet/>
      <dgm:spPr/>
      <dgm:t>
        <a:bodyPr/>
        <a:lstStyle/>
        <a:p>
          <a:endParaRPr lang="en-US"/>
        </a:p>
      </dgm:t>
    </dgm:pt>
    <dgm:pt modelId="{B3AC3865-43BB-43CE-84C7-F754D6D5912D}" type="sibTrans" cxnId="{F37D6351-6035-4C37-AFBC-E580BD0B822A}">
      <dgm:prSet/>
      <dgm:spPr/>
      <dgm:t>
        <a:bodyPr/>
        <a:lstStyle/>
        <a:p>
          <a:endParaRPr lang="en-US"/>
        </a:p>
      </dgm:t>
    </dgm:pt>
    <dgm:pt modelId="{02B876FF-7BD9-4633-B8C9-2C52B03F5172}" type="pres">
      <dgm:prSet presAssocID="{00E00598-3DD3-42B9-B71B-ACF2CBEFD500}" presName="Name0" presStyleCnt="0">
        <dgm:presLayoutVars>
          <dgm:chMax/>
          <dgm:chPref/>
          <dgm:dir/>
          <dgm:animLvl val="lvl"/>
        </dgm:presLayoutVars>
      </dgm:prSet>
      <dgm:spPr/>
    </dgm:pt>
    <dgm:pt modelId="{17A874D0-25B1-480C-8B70-596B9298543A}" type="pres">
      <dgm:prSet presAssocID="{57D425AB-5404-4DF1-9B0E-FBB25D8128E3}" presName="composite" presStyleCnt="0"/>
      <dgm:spPr/>
    </dgm:pt>
    <dgm:pt modelId="{5DD4835A-E9E6-4B43-BE98-39440335CEBF}" type="pres">
      <dgm:prSet presAssocID="{57D425AB-5404-4DF1-9B0E-FBB25D8128E3}" presName="Parent1" presStyleLbl="node1" presStyleIdx="0" presStyleCnt="6" custLinFactNeighborY="-629">
        <dgm:presLayoutVars>
          <dgm:chMax val="1"/>
          <dgm:chPref val="1"/>
          <dgm:bulletEnabled val="1"/>
        </dgm:presLayoutVars>
      </dgm:prSet>
      <dgm:spPr/>
    </dgm:pt>
    <dgm:pt modelId="{2A123173-16D2-4C28-BC0E-D6506089A518}" type="pres">
      <dgm:prSet presAssocID="{57D425AB-5404-4DF1-9B0E-FBB25D8128E3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7E670A05-710F-44C5-B905-5CA784617245}" type="pres">
      <dgm:prSet presAssocID="{57D425AB-5404-4DF1-9B0E-FBB25D8128E3}" presName="BalanceSpacing" presStyleCnt="0"/>
      <dgm:spPr/>
    </dgm:pt>
    <dgm:pt modelId="{9F0FC21B-5357-4B57-8774-7CE3D3053CBE}" type="pres">
      <dgm:prSet presAssocID="{57D425AB-5404-4DF1-9B0E-FBB25D8128E3}" presName="BalanceSpacing1" presStyleCnt="0"/>
      <dgm:spPr/>
    </dgm:pt>
    <dgm:pt modelId="{1DBE2474-876A-40CA-9B1C-CFC98A07B759}" type="pres">
      <dgm:prSet presAssocID="{87911903-9942-4B2D-BE45-274E82AC32ED}" presName="Accent1Text" presStyleLbl="node1" presStyleIdx="1" presStyleCnt="6"/>
      <dgm:spPr/>
    </dgm:pt>
    <dgm:pt modelId="{5DD814D2-B3BA-4881-B1E1-2B8FC6CD3C9D}" type="pres">
      <dgm:prSet presAssocID="{87911903-9942-4B2D-BE45-274E82AC32ED}" presName="spaceBetweenRectangles" presStyleCnt="0"/>
      <dgm:spPr/>
    </dgm:pt>
    <dgm:pt modelId="{52A837E8-14A4-42C1-8DCD-D38C72742F79}" type="pres">
      <dgm:prSet presAssocID="{F88255CD-DDA4-4854-89C7-CA95B870D59E}" presName="composite" presStyleCnt="0"/>
      <dgm:spPr/>
    </dgm:pt>
    <dgm:pt modelId="{0642D536-C35B-4BCB-9367-136BFF3B24E0}" type="pres">
      <dgm:prSet presAssocID="{F88255CD-DDA4-4854-89C7-CA95B870D59E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27505D7B-8219-4D90-A47D-C91258B1D22B}" type="pres">
      <dgm:prSet presAssocID="{F88255CD-DDA4-4854-89C7-CA95B870D59E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EB5777F4-0989-4676-B922-8C787561BD32}" type="pres">
      <dgm:prSet presAssocID="{F88255CD-DDA4-4854-89C7-CA95B870D59E}" presName="BalanceSpacing" presStyleCnt="0"/>
      <dgm:spPr/>
    </dgm:pt>
    <dgm:pt modelId="{2F028933-D52E-46F3-9C71-436DD05A919C}" type="pres">
      <dgm:prSet presAssocID="{F88255CD-DDA4-4854-89C7-CA95B870D59E}" presName="BalanceSpacing1" presStyleCnt="0"/>
      <dgm:spPr/>
    </dgm:pt>
    <dgm:pt modelId="{C2097443-CB6D-4805-9AA9-826BECD6164E}" type="pres">
      <dgm:prSet presAssocID="{EA63C8E4-4031-4D55-95B5-E28F8ED1799B}" presName="Accent1Text" presStyleLbl="node1" presStyleIdx="3" presStyleCnt="6"/>
      <dgm:spPr/>
    </dgm:pt>
    <dgm:pt modelId="{2BA0DB0D-875E-4FCC-9FF8-2650CA607A4B}" type="pres">
      <dgm:prSet presAssocID="{EA63C8E4-4031-4D55-95B5-E28F8ED1799B}" presName="spaceBetweenRectangles" presStyleCnt="0"/>
      <dgm:spPr/>
    </dgm:pt>
    <dgm:pt modelId="{2B0B0958-0FF6-4D40-AD9C-EA225C8B5842}" type="pres">
      <dgm:prSet presAssocID="{63F7EABB-F3D3-47AC-91CE-2A38B9B2870C}" presName="composite" presStyleCnt="0"/>
      <dgm:spPr/>
    </dgm:pt>
    <dgm:pt modelId="{913C24F7-6E3D-4A69-8381-B263F30B95BF}" type="pres">
      <dgm:prSet presAssocID="{63F7EABB-F3D3-47AC-91CE-2A38B9B2870C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3996072E-6742-4F19-B358-6B373123AD97}" type="pres">
      <dgm:prSet presAssocID="{63F7EABB-F3D3-47AC-91CE-2A38B9B2870C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DE92B4A5-B7CB-4FF0-BBA5-6BACE8B49D3C}" type="pres">
      <dgm:prSet presAssocID="{63F7EABB-F3D3-47AC-91CE-2A38B9B2870C}" presName="BalanceSpacing" presStyleCnt="0"/>
      <dgm:spPr/>
    </dgm:pt>
    <dgm:pt modelId="{D4021D0B-0BF4-4344-8198-2D03EA3711C0}" type="pres">
      <dgm:prSet presAssocID="{63F7EABB-F3D3-47AC-91CE-2A38B9B2870C}" presName="BalanceSpacing1" presStyleCnt="0"/>
      <dgm:spPr/>
    </dgm:pt>
    <dgm:pt modelId="{4B49AF9E-653C-46F8-A408-47876AB83FE6}" type="pres">
      <dgm:prSet presAssocID="{AD89BC91-1292-488D-B572-76F7F5E71D69}" presName="Accent1Text" presStyleLbl="node1" presStyleIdx="5" presStyleCnt="6"/>
      <dgm:spPr/>
    </dgm:pt>
  </dgm:ptLst>
  <dgm:cxnLst>
    <dgm:cxn modelId="{5222E35D-A593-40C5-88FE-410CC23D8C8B}" type="presOf" srcId="{57D425AB-5404-4DF1-9B0E-FBB25D8128E3}" destId="{5DD4835A-E9E6-4B43-BE98-39440335CEBF}" srcOrd="0" destOrd="0" presId="urn:microsoft.com/office/officeart/2008/layout/AlternatingHexagons"/>
    <dgm:cxn modelId="{3F524341-CADD-45D3-A2BB-FE0C1767E167}" type="presOf" srcId="{C08F76DB-DCDA-4C33-B533-722E9C930524}" destId="{2A123173-16D2-4C28-BC0E-D6506089A518}" srcOrd="0" destOrd="0" presId="urn:microsoft.com/office/officeart/2008/layout/AlternatingHexagons"/>
    <dgm:cxn modelId="{195E5743-B1BA-4B68-9DA5-123F4332D718}" type="presOf" srcId="{87911903-9942-4B2D-BE45-274E82AC32ED}" destId="{1DBE2474-876A-40CA-9B1C-CFC98A07B759}" srcOrd="0" destOrd="0" presId="urn:microsoft.com/office/officeart/2008/layout/AlternatingHexagons"/>
    <dgm:cxn modelId="{7852CF47-A300-456D-AB1A-8FAA770F54A3}" type="presOf" srcId="{EA63C8E4-4031-4D55-95B5-E28F8ED1799B}" destId="{C2097443-CB6D-4805-9AA9-826BECD6164E}" srcOrd="0" destOrd="0" presId="urn:microsoft.com/office/officeart/2008/layout/AlternatingHexagons"/>
    <dgm:cxn modelId="{F37D6351-6035-4C37-AFBC-E580BD0B822A}" srcId="{63F7EABB-F3D3-47AC-91CE-2A38B9B2870C}" destId="{823F1DDA-57B3-4682-AF17-EC62CC8A1572}" srcOrd="0" destOrd="0" parTransId="{C1DFC821-85BA-4913-ADC7-C074B98D5D3B}" sibTransId="{B3AC3865-43BB-43CE-84C7-F754D6D5912D}"/>
    <dgm:cxn modelId="{90DAEC74-B2EE-4DAC-AD77-80823A8826E5}" srcId="{57D425AB-5404-4DF1-9B0E-FBB25D8128E3}" destId="{C08F76DB-DCDA-4C33-B533-722E9C930524}" srcOrd="0" destOrd="0" parTransId="{8FE21480-4E3D-4522-8AE3-533B349FE175}" sibTransId="{48B003DB-ED91-45B1-A323-9C0F537CBA18}"/>
    <dgm:cxn modelId="{2A3E7477-CEAE-40CC-AE0B-896ADB48BDB2}" type="presOf" srcId="{00E00598-3DD3-42B9-B71B-ACF2CBEFD500}" destId="{02B876FF-7BD9-4633-B8C9-2C52B03F5172}" srcOrd="0" destOrd="0" presId="urn:microsoft.com/office/officeart/2008/layout/AlternatingHexagons"/>
    <dgm:cxn modelId="{4AE024A0-950B-4669-991C-7FA6D583FD13}" type="presOf" srcId="{AD89BC91-1292-488D-B572-76F7F5E71D69}" destId="{4B49AF9E-653C-46F8-A408-47876AB83FE6}" srcOrd="0" destOrd="0" presId="urn:microsoft.com/office/officeart/2008/layout/AlternatingHexagons"/>
    <dgm:cxn modelId="{13DFF4A5-5FA1-41BB-8AE8-12147AFEB66F}" type="presOf" srcId="{823F1DDA-57B3-4682-AF17-EC62CC8A1572}" destId="{3996072E-6742-4F19-B358-6B373123AD97}" srcOrd="0" destOrd="0" presId="urn:microsoft.com/office/officeart/2008/layout/AlternatingHexagons"/>
    <dgm:cxn modelId="{AAEF74AF-ABB2-4BC2-9F73-BAEFFBC5AAA2}" srcId="{F88255CD-DDA4-4854-89C7-CA95B870D59E}" destId="{4E546700-8C4F-4AD0-993A-3CC66530B6B5}" srcOrd="0" destOrd="0" parTransId="{AA78CC95-8DD5-4B57-9626-59B818BB4380}" sibTransId="{7EEA8A51-3B6C-4F17-AF94-F1B07696462C}"/>
    <dgm:cxn modelId="{79B7B9BC-B5EB-4DA2-AFB1-A36665E8440E}" srcId="{00E00598-3DD3-42B9-B71B-ACF2CBEFD500}" destId="{57D425AB-5404-4DF1-9B0E-FBB25D8128E3}" srcOrd="0" destOrd="0" parTransId="{8DCDE7F9-A8A6-4412-873E-836FF5E2BC36}" sibTransId="{87911903-9942-4B2D-BE45-274E82AC32ED}"/>
    <dgm:cxn modelId="{EA5967BE-0849-4731-A13A-F896BA9B7E21}" type="presOf" srcId="{4E546700-8C4F-4AD0-993A-3CC66530B6B5}" destId="{27505D7B-8219-4D90-A47D-C91258B1D22B}" srcOrd="0" destOrd="0" presId="urn:microsoft.com/office/officeart/2008/layout/AlternatingHexagons"/>
    <dgm:cxn modelId="{397C1FD8-6803-47EB-BA95-97E4D0BEBCBF}" type="presOf" srcId="{63F7EABB-F3D3-47AC-91CE-2A38B9B2870C}" destId="{913C24F7-6E3D-4A69-8381-B263F30B95BF}" srcOrd="0" destOrd="0" presId="urn:microsoft.com/office/officeart/2008/layout/AlternatingHexagons"/>
    <dgm:cxn modelId="{7D0B8DDD-A72F-41AC-B477-49266B4760A0}" srcId="{00E00598-3DD3-42B9-B71B-ACF2CBEFD500}" destId="{F88255CD-DDA4-4854-89C7-CA95B870D59E}" srcOrd="1" destOrd="0" parTransId="{FC67FAEE-94B3-451F-8FE2-BFF9F9ABDC7B}" sibTransId="{EA63C8E4-4031-4D55-95B5-E28F8ED1799B}"/>
    <dgm:cxn modelId="{F6B4AAEE-A7FF-4522-82D4-8D65596C4837}" srcId="{00E00598-3DD3-42B9-B71B-ACF2CBEFD500}" destId="{63F7EABB-F3D3-47AC-91CE-2A38B9B2870C}" srcOrd="2" destOrd="0" parTransId="{6EB406C8-2286-4569-A168-11D784B1056D}" sibTransId="{AD89BC91-1292-488D-B572-76F7F5E71D69}"/>
    <dgm:cxn modelId="{37FA8DF9-7A40-4A17-B0DA-F278820760E9}" type="presOf" srcId="{F88255CD-DDA4-4854-89C7-CA95B870D59E}" destId="{0642D536-C35B-4BCB-9367-136BFF3B24E0}" srcOrd="0" destOrd="0" presId="urn:microsoft.com/office/officeart/2008/layout/AlternatingHexagons"/>
    <dgm:cxn modelId="{EC4891BC-5891-479A-8F3A-02A88DCBBC61}" type="presParOf" srcId="{02B876FF-7BD9-4633-B8C9-2C52B03F5172}" destId="{17A874D0-25B1-480C-8B70-596B9298543A}" srcOrd="0" destOrd="0" presId="urn:microsoft.com/office/officeart/2008/layout/AlternatingHexagons"/>
    <dgm:cxn modelId="{A9F4167D-FCD6-4D67-A0FE-C8A297C25D40}" type="presParOf" srcId="{17A874D0-25B1-480C-8B70-596B9298543A}" destId="{5DD4835A-E9E6-4B43-BE98-39440335CEBF}" srcOrd="0" destOrd="0" presId="urn:microsoft.com/office/officeart/2008/layout/AlternatingHexagons"/>
    <dgm:cxn modelId="{F51B7800-26B0-46FD-90F3-8DE73516F142}" type="presParOf" srcId="{17A874D0-25B1-480C-8B70-596B9298543A}" destId="{2A123173-16D2-4C28-BC0E-D6506089A518}" srcOrd="1" destOrd="0" presId="urn:microsoft.com/office/officeart/2008/layout/AlternatingHexagons"/>
    <dgm:cxn modelId="{276F8DFE-5969-4081-99A4-D41A20226BA7}" type="presParOf" srcId="{17A874D0-25B1-480C-8B70-596B9298543A}" destId="{7E670A05-710F-44C5-B905-5CA784617245}" srcOrd="2" destOrd="0" presId="urn:microsoft.com/office/officeart/2008/layout/AlternatingHexagons"/>
    <dgm:cxn modelId="{932E7498-C0CD-43BE-83D7-4DE6D5709D0C}" type="presParOf" srcId="{17A874D0-25B1-480C-8B70-596B9298543A}" destId="{9F0FC21B-5357-4B57-8774-7CE3D3053CBE}" srcOrd="3" destOrd="0" presId="urn:microsoft.com/office/officeart/2008/layout/AlternatingHexagons"/>
    <dgm:cxn modelId="{F1452A57-44C5-4499-8C1D-A1F497347C17}" type="presParOf" srcId="{17A874D0-25B1-480C-8B70-596B9298543A}" destId="{1DBE2474-876A-40CA-9B1C-CFC98A07B759}" srcOrd="4" destOrd="0" presId="urn:microsoft.com/office/officeart/2008/layout/AlternatingHexagons"/>
    <dgm:cxn modelId="{5EA222B6-2F9B-4B1F-ACBF-9F7535AF5CBB}" type="presParOf" srcId="{02B876FF-7BD9-4633-B8C9-2C52B03F5172}" destId="{5DD814D2-B3BA-4881-B1E1-2B8FC6CD3C9D}" srcOrd="1" destOrd="0" presId="urn:microsoft.com/office/officeart/2008/layout/AlternatingHexagons"/>
    <dgm:cxn modelId="{9EBB39D6-508A-432D-98A5-14509577282A}" type="presParOf" srcId="{02B876FF-7BD9-4633-B8C9-2C52B03F5172}" destId="{52A837E8-14A4-42C1-8DCD-D38C72742F79}" srcOrd="2" destOrd="0" presId="urn:microsoft.com/office/officeart/2008/layout/AlternatingHexagons"/>
    <dgm:cxn modelId="{284C83EE-320E-4A85-90AE-69C0F5C924F7}" type="presParOf" srcId="{52A837E8-14A4-42C1-8DCD-D38C72742F79}" destId="{0642D536-C35B-4BCB-9367-136BFF3B24E0}" srcOrd="0" destOrd="0" presId="urn:microsoft.com/office/officeart/2008/layout/AlternatingHexagons"/>
    <dgm:cxn modelId="{8FA6D676-0A5D-4C5B-A6B5-597F116373B0}" type="presParOf" srcId="{52A837E8-14A4-42C1-8DCD-D38C72742F79}" destId="{27505D7B-8219-4D90-A47D-C91258B1D22B}" srcOrd="1" destOrd="0" presId="urn:microsoft.com/office/officeart/2008/layout/AlternatingHexagons"/>
    <dgm:cxn modelId="{3FD2DE10-22EE-4B00-8610-347854BA8E1F}" type="presParOf" srcId="{52A837E8-14A4-42C1-8DCD-D38C72742F79}" destId="{EB5777F4-0989-4676-B922-8C787561BD32}" srcOrd="2" destOrd="0" presId="urn:microsoft.com/office/officeart/2008/layout/AlternatingHexagons"/>
    <dgm:cxn modelId="{96E1341F-B6CD-46CB-9ABC-B0D56BC757FD}" type="presParOf" srcId="{52A837E8-14A4-42C1-8DCD-D38C72742F79}" destId="{2F028933-D52E-46F3-9C71-436DD05A919C}" srcOrd="3" destOrd="0" presId="urn:microsoft.com/office/officeart/2008/layout/AlternatingHexagons"/>
    <dgm:cxn modelId="{FF559996-61D2-4608-9AEC-DB84FB76FF86}" type="presParOf" srcId="{52A837E8-14A4-42C1-8DCD-D38C72742F79}" destId="{C2097443-CB6D-4805-9AA9-826BECD6164E}" srcOrd="4" destOrd="0" presId="urn:microsoft.com/office/officeart/2008/layout/AlternatingHexagons"/>
    <dgm:cxn modelId="{BAA09647-637F-49D4-B5C1-25535732936E}" type="presParOf" srcId="{02B876FF-7BD9-4633-B8C9-2C52B03F5172}" destId="{2BA0DB0D-875E-4FCC-9FF8-2650CA607A4B}" srcOrd="3" destOrd="0" presId="urn:microsoft.com/office/officeart/2008/layout/AlternatingHexagons"/>
    <dgm:cxn modelId="{A8A9E1DD-5E27-4B1F-BCBA-E2B87E1594D9}" type="presParOf" srcId="{02B876FF-7BD9-4633-B8C9-2C52B03F5172}" destId="{2B0B0958-0FF6-4D40-AD9C-EA225C8B5842}" srcOrd="4" destOrd="0" presId="urn:microsoft.com/office/officeart/2008/layout/AlternatingHexagons"/>
    <dgm:cxn modelId="{3ADE0AAD-D654-4430-8044-EBAB97724BB4}" type="presParOf" srcId="{2B0B0958-0FF6-4D40-AD9C-EA225C8B5842}" destId="{913C24F7-6E3D-4A69-8381-B263F30B95BF}" srcOrd="0" destOrd="0" presId="urn:microsoft.com/office/officeart/2008/layout/AlternatingHexagons"/>
    <dgm:cxn modelId="{7073E522-2BB0-42AA-A1C5-2C1A0AE90866}" type="presParOf" srcId="{2B0B0958-0FF6-4D40-AD9C-EA225C8B5842}" destId="{3996072E-6742-4F19-B358-6B373123AD97}" srcOrd="1" destOrd="0" presId="urn:microsoft.com/office/officeart/2008/layout/AlternatingHexagons"/>
    <dgm:cxn modelId="{8E48C81E-9AB3-4FE3-BA98-A1FD88533876}" type="presParOf" srcId="{2B0B0958-0FF6-4D40-AD9C-EA225C8B5842}" destId="{DE92B4A5-B7CB-4FF0-BBA5-6BACE8B49D3C}" srcOrd="2" destOrd="0" presId="urn:microsoft.com/office/officeart/2008/layout/AlternatingHexagons"/>
    <dgm:cxn modelId="{D8A91773-131C-4634-92B4-DB7844B30BBB}" type="presParOf" srcId="{2B0B0958-0FF6-4D40-AD9C-EA225C8B5842}" destId="{D4021D0B-0BF4-4344-8198-2D03EA3711C0}" srcOrd="3" destOrd="0" presId="urn:microsoft.com/office/officeart/2008/layout/AlternatingHexagons"/>
    <dgm:cxn modelId="{3F3B597B-1C45-4628-A6D5-12D23B520555}" type="presParOf" srcId="{2B0B0958-0FF6-4D40-AD9C-EA225C8B5842}" destId="{4B49AF9E-653C-46F8-A408-47876AB83FE6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7081AA-9CFA-43C3-98AF-D1A48DABD6A0}">
      <dsp:nvSpPr>
        <dsp:cNvPr id="0" name=""/>
        <dsp:cNvSpPr/>
      </dsp:nvSpPr>
      <dsp:spPr>
        <a:xfrm>
          <a:off x="826113" y="0"/>
          <a:ext cx="9362614" cy="4726535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BF06B3-BBDC-4CA8-A622-C896310B8FB6}">
      <dsp:nvSpPr>
        <dsp:cNvPr id="0" name=""/>
        <dsp:cNvSpPr/>
      </dsp:nvSpPr>
      <dsp:spPr>
        <a:xfrm>
          <a:off x="87707" y="1417960"/>
          <a:ext cx="1856143" cy="18906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Susceptible</a:t>
          </a:r>
        </a:p>
      </dsp:txBody>
      <dsp:txXfrm>
        <a:off x="178316" y="1508569"/>
        <a:ext cx="1674925" cy="1709396"/>
      </dsp:txXfrm>
    </dsp:sp>
    <dsp:sp modelId="{9625591C-AA40-49CD-99DD-91C0F5D0259F}">
      <dsp:nvSpPr>
        <dsp:cNvPr id="0" name=""/>
        <dsp:cNvSpPr/>
      </dsp:nvSpPr>
      <dsp:spPr>
        <a:xfrm>
          <a:off x="2374888" y="1417960"/>
          <a:ext cx="1856143" cy="18906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HIV+</a:t>
          </a:r>
        </a:p>
      </dsp:txBody>
      <dsp:txXfrm>
        <a:off x="2465497" y="1508569"/>
        <a:ext cx="1674925" cy="1709396"/>
      </dsp:txXfrm>
    </dsp:sp>
    <dsp:sp modelId="{FD0CE54C-7324-4DEA-A6A2-48636690107C}">
      <dsp:nvSpPr>
        <dsp:cNvPr id="0" name=""/>
        <dsp:cNvSpPr/>
      </dsp:nvSpPr>
      <dsp:spPr>
        <a:xfrm>
          <a:off x="4579348" y="1417960"/>
          <a:ext cx="1856143" cy="18906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Know Status</a:t>
          </a:r>
        </a:p>
      </dsp:txBody>
      <dsp:txXfrm>
        <a:off x="4669957" y="1508569"/>
        <a:ext cx="1674925" cy="1709396"/>
      </dsp:txXfrm>
    </dsp:sp>
    <dsp:sp modelId="{53DC4D4E-28AF-483F-82D5-91E744221265}">
      <dsp:nvSpPr>
        <dsp:cNvPr id="0" name=""/>
        <dsp:cNvSpPr/>
      </dsp:nvSpPr>
      <dsp:spPr>
        <a:xfrm>
          <a:off x="6866529" y="1417960"/>
          <a:ext cx="1856143" cy="18906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On ART</a:t>
          </a:r>
        </a:p>
      </dsp:txBody>
      <dsp:txXfrm>
        <a:off x="6957138" y="1508569"/>
        <a:ext cx="1674925" cy="1709396"/>
      </dsp:txXfrm>
    </dsp:sp>
    <dsp:sp modelId="{6B295985-5F4E-480D-8DA0-E75BD472FE04}">
      <dsp:nvSpPr>
        <dsp:cNvPr id="0" name=""/>
        <dsp:cNvSpPr/>
      </dsp:nvSpPr>
      <dsp:spPr>
        <a:xfrm>
          <a:off x="9153710" y="1417960"/>
          <a:ext cx="1856143" cy="189061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Virally Suppressed</a:t>
          </a:r>
        </a:p>
      </dsp:txBody>
      <dsp:txXfrm>
        <a:off x="9244319" y="1508569"/>
        <a:ext cx="1674925" cy="170939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1DA18E-60AB-4E53-AC34-2A086763EA28}">
      <dsp:nvSpPr>
        <dsp:cNvPr id="0" name=""/>
        <dsp:cNvSpPr/>
      </dsp:nvSpPr>
      <dsp:spPr>
        <a:xfrm>
          <a:off x="0" y="15552"/>
          <a:ext cx="6513603" cy="2859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marL="0" lvl="0" indent="0" algn="l" defTabSz="20891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700" kern="1200"/>
            <a:t>Applications now prepared for almost 100 countries</a:t>
          </a:r>
        </a:p>
      </dsp:txBody>
      <dsp:txXfrm>
        <a:off x="139588" y="155140"/>
        <a:ext cx="6234427" cy="2580304"/>
      </dsp:txXfrm>
    </dsp:sp>
    <dsp:sp modelId="{32804DB1-17FC-422C-AE88-AC309851F236}">
      <dsp:nvSpPr>
        <dsp:cNvPr id="0" name=""/>
        <dsp:cNvSpPr/>
      </dsp:nvSpPr>
      <dsp:spPr>
        <a:xfrm>
          <a:off x="0" y="3010393"/>
          <a:ext cx="6513603" cy="2859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marL="0" lvl="0" indent="0" algn="l" defTabSz="20891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700" kern="1200"/>
            <a:t>Country teams from SSA and LAC trained in the use of the model</a:t>
          </a:r>
        </a:p>
      </dsp:txBody>
      <dsp:txXfrm>
        <a:off x="139588" y="3149981"/>
        <a:ext cx="6234427" cy="25803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922E4B-1622-4871-A1D0-483511AD9ABC}">
      <dsp:nvSpPr>
        <dsp:cNvPr id="0" name=""/>
        <dsp:cNvSpPr/>
      </dsp:nvSpPr>
      <dsp:spPr>
        <a:xfrm>
          <a:off x="594359" y="0"/>
          <a:ext cx="6736080" cy="497046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1CCC5B-94D4-419C-816D-F9481AECA6A3}">
      <dsp:nvSpPr>
        <dsp:cNvPr id="0" name=""/>
        <dsp:cNvSpPr/>
      </dsp:nvSpPr>
      <dsp:spPr>
        <a:xfrm>
          <a:off x="3482" y="1491138"/>
          <a:ext cx="1522660" cy="1988185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op Group</a:t>
          </a:r>
          <a:endParaRPr lang="en-US" sz="1200" kern="1200" dirty="0"/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Faithful couple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GYW/ABYM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asual partnership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ex workers/client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SM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WID</a:t>
          </a:r>
        </a:p>
      </dsp:txBody>
      <dsp:txXfrm>
        <a:off x="77812" y="1565468"/>
        <a:ext cx="1374000" cy="1839525"/>
      </dsp:txXfrm>
    </dsp:sp>
    <dsp:sp modelId="{BF154371-FFBC-4426-BB91-CCD0AE596E9B}">
      <dsp:nvSpPr>
        <dsp:cNvPr id="0" name=""/>
        <dsp:cNvSpPr/>
      </dsp:nvSpPr>
      <dsp:spPr>
        <a:xfrm>
          <a:off x="1602276" y="1491138"/>
          <a:ext cx="1522660" cy="1988185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Behavio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# partner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cts/partne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ndom use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ge at 1</a:t>
          </a:r>
          <a:r>
            <a:rPr lang="en-US" sz="1200" kern="1200" baseline="30000" dirty="0"/>
            <a:t>st</a:t>
          </a:r>
          <a:r>
            <a:rPr lang="en-US" sz="1200" kern="1200" dirty="0"/>
            <a:t> sex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Needle sharing</a:t>
          </a:r>
        </a:p>
      </dsp:txBody>
      <dsp:txXfrm>
        <a:off x="1676606" y="1565468"/>
        <a:ext cx="1374000" cy="1839525"/>
      </dsp:txXfrm>
    </dsp:sp>
    <dsp:sp modelId="{F624644D-70C1-4B84-84D6-9F8C7AC5ABB5}">
      <dsp:nvSpPr>
        <dsp:cNvPr id="0" name=""/>
        <dsp:cNvSpPr/>
      </dsp:nvSpPr>
      <dsp:spPr>
        <a:xfrm>
          <a:off x="3201069" y="1491138"/>
          <a:ext cx="1522660" cy="1988185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ype of Transmission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ex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Needle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Blood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MTCT</a:t>
          </a:r>
        </a:p>
      </dsp:txBody>
      <dsp:txXfrm>
        <a:off x="3275399" y="1565468"/>
        <a:ext cx="1374000" cy="1839525"/>
      </dsp:txXfrm>
    </dsp:sp>
    <dsp:sp modelId="{3A0F8FE4-283F-421D-A563-C962902BBF98}">
      <dsp:nvSpPr>
        <dsp:cNvPr id="0" name=""/>
        <dsp:cNvSpPr/>
      </dsp:nvSpPr>
      <dsp:spPr>
        <a:xfrm>
          <a:off x="4799863" y="1491138"/>
          <a:ext cx="1522660" cy="1988185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robability of Transmission</a:t>
          </a:r>
        </a:p>
      </dsp:txBody>
      <dsp:txXfrm>
        <a:off x="4874193" y="1565468"/>
        <a:ext cx="1374000" cy="1839525"/>
      </dsp:txXfrm>
    </dsp:sp>
    <dsp:sp modelId="{87620C8E-D7AA-4D75-85FD-6A218C33441B}">
      <dsp:nvSpPr>
        <dsp:cNvPr id="0" name=""/>
        <dsp:cNvSpPr/>
      </dsp:nvSpPr>
      <dsp:spPr>
        <a:xfrm>
          <a:off x="6398656" y="1491138"/>
          <a:ext cx="1522660" cy="1988185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ew HIV Infections</a:t>
          </a:r>
        </a:p>
      </dsp:txBody>
      <dsp:txXfrm>
        <a:off x="6472986" y="1565468"/>
        <a:ext cx="1374000" cy="183952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922E4B-1622-4871-A1D0-483511AD9ABC}">
      <dsp:nvSpPr>
        <dsp:cNvPr id="0" name=""/>
        <dsp:cNvSpPr/>
      </dsp:nvSpPr>
      <dsp:spPr>
        <a:xfrm>
          <a:off x="594359" y="0"/>
          <a:ext cx="6736080" cy="40640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1CCC5B-94D4-419C-816D-F9481AECA6A3}">
      <dsp:nvSpPr>
        <dsp:cNvPr id="0" name=""/>
        <dsp:cNvSpPr/>
      </dsp:nvSpPr>
      <dsp:spPr>
        <a:xfrm>
          <a:off x="3482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op Group</a:t>
          </a:r>
          <a:endParaRPr lang="en-US" sz="1200" kern="1200" dirty="0"/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Faithful couple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GYW/ABYM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asual partnership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ex workers/client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SM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WID</a:t>
          </a:r>
        </a:p>
      </dsp:txBody>
      <dsp:txXfrm>
        <a:off x="77812" y="1293529"/>
        <a:ext cx="1374000" cy="1476940"/>
      </dsp:txXfrm>
    </dsp:sp>
    <dsp:sp modelId="{BF154371-FFBC-4426-BB91-CCD0AE596E9B}">
      <dsp:nvSpPr>
        <dsp:cNvPr id="0" name=""/>
        <dsp:cNvSpPr/>
      </dsp:nvSpPr>
      <dsp:spPr>
        <a:xfrm>
          <a:off x="1602276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Behavio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# partner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cts/partne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ndom use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ge at 1</a:t>
          </a:r>
          <a:r>
            <a:rPr lang="en-US" sz="1200" kern="1200" baseline="30000" dirty="0"/>
            <a:t>st</a:t>
          </a:r>
          <a:r>
            <a:rPr lang="en-US" sz="1200" kern="1200" dirty="0"/>
            <a:t> sex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Needle sharing</a:t>
          </a:r>
        </a:p>
      </dsp:txBody>
      <dsp:txXfrm>
        <a:off x="1676606" y="1293529"/>
        <a:ext cx="1374000" cy="1476940"/>
      </dsp:txXfrm>
    </dsp:sp>
    <dsp:sp modelId="{F624644D-70C1-4B84-84D6-9F8C7AC5ABB5}">
      <dsp:nvSpPr>
        <dsp:cNvPr id="0" name=""/>
        <dsp:cNvSpPr/>
      </dsp:nvSpPr>
      <dsp:spPr>
        <a:xfrm>
          <a:off x="3201069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ype of Transmission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ex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Needle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Blood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MTCT</a:t>
          </a:r>
        </a:p>
      </dsp:txBody>
      <dsp:txXfrm>
        <a:off x="3275399" y="1293529"/>
        <a:ext cx="1374000" cy="1476940"/>
      </dsp:txXfrm>
    </dsp:sp>
    <dsp:sp modelId="{3A0F8FE4-283F-421D-A563-C962902BBF98}">
      <dsp:nvSpPr>
        <dsp:cNvPr id="0" name=""/>
        <dsp:cNvSpPr/>
      </dsp:nvSpPr>
      <dsp:spPr>
        <a:xfrm>
          <a:off x="4799863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robability of Transmission</a:t>
          </a:r>
        </a:p>
      </dsp:txBody>
      <dsp:txXfrm>
        <a:off x="4874193" y="1293529"/>
        <a:ext cx="1374000" cy="1476940"/>
      </dsp:txXfrm>
    </dsp:sp>
    <dsp:sp modelId="{87620C8E-D7AA-4D75-85FD-6A218C33441B}">
      <dsp:nvSpPr>
        <dsp:cNvPr id="0" name=""/>
        <dsp:cNvSpPr/>
      </dsp:nvSpPr>
      <dsp:spPr>
        <a:xfrm>
          <a:off x="6398656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ew HIV Infections</a:t>
          </a:r>
        </a:p>
      </dsp:txBody>
      <dsp:txXfrm>
        <a:off x="6472986" y="1293529"/>
        <a:ext cx="1374000" cy="147694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1C482B-9241-4E3B-8CAC-1D61C89EE112}">
      <dsp:nvSpPr>
        <dsp:cNvPr id="0" name=""/>
        <dsp:cNvSpPr/>
      </dsp:nvSpPr>
      <dsp:spPr>
        <a:xfrm>
          <a:off x="5569" y="0"/>
          <a:ext cx="2444408" cy="32680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ehavior Change</a:t>
          </a:r>
          <a:endParaRPr lang="en-US" sz="1000" kern="1200" dirty="0"/>
        </a:p>
      </dsp:txBody>
      <dsp:txXfrm>
        <a:off x="5569" y="0"/>
        <a:ext cx="2444408" cy="326804"/>
      </dsp:txXfrm>
    </dsp:sp>
    <dsp:sp modelId="{DCC0850F-CB00-45AA-83EA-549EBE32D38B}">
      <dsp:nvSpPr>
        <dsp:cNvPr id="0" name=""/>
        <dsp:cNvSpPr/>
      </dsp:nvSpPr>
      <dsp:spPr>
        <a:xfrm>
          <a:off x="5569" y="326804"/>
          <a:ext cx="2444408" cy="112099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Outrea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exuality educ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Economic empowerment</a:t>
          </a:r>
        </a:p>
      </dsp:txBody>
      <dsp:txXfrm>
        <a:off x="5569" y="326804"/>
        <a:ext cx="2444408" cy="1120995"/>
      </dsp:txXfrm>
    </dsp:sp>
    <dsp:sp modelId="{B0DB1CB4-F96C-4185-AE58-5B7BFF6E8D06}">
      <dsp:nvSpPr>
        <dsp:cNvPr id="0" name=""/>
        <dsp:cNvSpPr/>
      </dsp:nvSpPr>
      <dsp:spPr>
        <a:xfrm>
          <a:off x="2798813" y="-54982"/>
          <a:ext cx="2446798" cy="32680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iomedical</a:t>
          </a:r>
          <a:endParaRPr lang="en-US" sz="1000" kern="1200" dirty="0"/>
        </a:p>
      </dsp:txBody>
      <dsp:txXfrm>
        <a:off x="2798813" y="-54982"/>
        <a:ext cx="2446798" cy="326804"/>
      </dsp:txXfrm>
    </dsp:sp>
    <dsp:sp modelId="{1DB27703-422F-431E-A122-2B4989BC183B}">
      <dsp:nvSpPr>
        <dsp:cNvPr id="0" name=""/>
        <dsp:cNvSpPr/>
      </dsp:nvSpPr>
      <dsp:spPr>
        <a:xfrm>
          <a:off x="2792195" y="271821"/>
          <a:ext cx="2460035" cy="12309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ndom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VMMC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MTC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rEP</a:t>
          </a:r>
        </a:p>
      </dsp:txBody>
      <dsp:txXfrm>
        <a:off x="2792195" y="271821"/>
        <a:ext cx="2460035" cy="123096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922E4B-1622-4871-A1D0-483511AD9ABC}">
      <dsp:nvSpPr>
        <dsp:cNvPr id="0" name=""/>
        <dsp:cNvSpPr/>
      </dsp:nvSpPr>
      <dsp:spPr>
        <a:xfrm>
          <a:off x="594359" y="0"/>
          <a:ext cx="6736080" cy="40640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1CCC5B-94D4-419C-816D-F9481AECA6A3}">
      <dsp:nvSpPr>
        <dsp:cNvPr id="0" name=""/>
        <dsp:cNvSpPr/>
      </dsp:nvSpPr>
      <dsp:spPr>
        <a:xfrm>
          <a:off x="3482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op Group</a:t>
          </a:r>
          <a:endParaRPr lang="en-US" sz="1200" kern="1200" dirty="0"/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Faithful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GYW/ABYM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asual partnership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ex workers/client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SM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PWID</a:t>
          </a:r>
        </a:p>
      </dsp:txBody>
      <dsp:txXfrm>
        <a:off x="77812" y="1293529"/>
        <a:ext cx="1374000" cy="1476940"/>
      </dsp:txXfrm>
    </dsp:sp>
    <dsp:sp modelId="{BF154371-FFBC-4426-BB91-CCD0AE596E9B}">
      <dsp:nvSpPr>
        <dsp:cNvPr id="0" name=""/>
        <dsp:cNvSpPr/>
      </dsp:nvSpPr>
      <dsp:spPr>
        <a:xfrm>
          <a:off x="1602276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Behavio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# partner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cts/partne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ondom use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ge at 1</a:t>
          </a:r>
          <a:r>
            <a:rPr lang="en-US" sz="1200" kern="1200" baseline="30000" dirty="0"/>
            <a:t>st</a:t>
          </a:r>
          <a:r>
            <a:rPr lang="en-US" sz="1200" kern="1200" dirty="0"/>
            <a:t> sex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Needle sharing</a:t>
          </a:r>
        </a:p>
      </dsp:txBody>
      <dsp:txXfrm>
        <a:off x="1676606" y="1293529"/>
        <a:ext cx="1374000" cy="1476940"/>
      </dsp:txXfrm>
    </dsp:sp>
    <dsp:sp modelId="{F624644D-70C1-4B84-84D6-9F8C7AC5ABB5}">
      <dsp:nvSpPr>
        <dsp:cNvPr id="0" name=""/>
        <dsp:cNvSpPr/>
      </dsp:nvSpPr>
      <dsp:spPr>
        <a:xfrm>
          <a:off x="3201069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ype of Transmission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ex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Needle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Blood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MTCT</a:t>
          </a:r>
        </a:p>
      </dsp:txBody>
      <dsp:txXfrm>
        <a:off x="3275399" y="1293529"/>
        <a:ext cx="1374000" cy="1476940"/>
      </dsp:txXfrm>
    </dsp:sp>
    <dsp:sp modelId="{3A0F8FE4-283F-421D-A563-C962902BBF98}">
      <dsp:nvSpPr>
        <dsp:cNvPr id="0" name=""/>
        <dsp:cNvSpPr/>
      </dsp:nvSpPr>
      <dsp:spPr>
        <a:xfrm>
          <a:off x="4799863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robability of Transmission</a:t>
          </a:r>
        </a:p>
      </dsp:txBody>
      <dsp:txXfrm>
        <a:off x="4874193" y="1293529"/>
        <a:ext cx="1374000" cy="1476940"/>
      </dsp:txXfrm>
    </dsp:sp>
    <dsp:sp modelId="{87620C8E-D7AA-4D75-85FD-6A218C33441B}">
      <dsp:nvSpPr>
        <dsp:cNvPr id="0" name=""/>
        <dsp:cNvSpPr/>
      </dsp:nvSpPr>
      <dsp:spPr>
        <a:xfrm>
          <a:off x="6398656" y="1219199"/>
          <a:ext cx="1522660" cy="1625600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New HIV Infections</a:t>
          </a:r>
        </a:p>
      </dsp:txBody>
      <dsp:txXfrm>
        <a:off x="6472986" y="1293529"/>
        <a:ext cx="1374000" cy="14769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1C482B-9241-4E3B-8CAC-1D61C89EE112}">
      <dsp:nvSpPr>
        <dsp:cNvPr id="0" name=""/>
        <dsp:cNvSpPr/>
      </dsp:nvSpPr>
      <dsp:spPr>
        <a:xfrm>
          <a:off x="5569" y="0"/>
          <a:ext cx="2444408" cy="32680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ehavior Change</a:t>
          </a:r>
          <a:endParaRPr lang="en-US" sz="1000" kern="1200" dirty="0"/>
        </a:p>
      </dsp:txBody>
      <dsp:txXfrm>
        <a:off x="5569" y="0"/>
        <a:ext cx="2444408" cy="326804"/>
      </dsp:txXfrm>
    </dsp:sp>
    <dsp:sp modelId="{DCC0850F-CB00-45AA-83EA-549EBE32D38B}">
      <dsp:nvSpPr>
        <dsp:cNvPr id="0" name=""/>
        <dsp:cNvSpPr/>
      </dsp:nvSpPr>
      <dsp:spPr>
        <a:xfrm>
          <a:off x="5569" y="326804"/>
          <a:ext cx="2444408" cy="112099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Outrea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exuality educ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Economic empowerment</a:t>
          </a:r>
          <a:endParaRPr lang="en-US" sz="500" kern="1200" dirty="0"/>
        </a:p>
      </dsp:txBody>
      <dsp:txXfrm>
        <a:off x="5569" y="326804"/>
        <a:ext cx="2444408" cy="1120995"/>
      </dsp:txXfrm>
    </dsp:sp>
    <dsp:sp modelId="{B0DB1CB4-F96C-4185-AE58-5B7BFF6E8D06}">
      <dsp:nvSpPr>
        <dsp:cNvPr id="0" name=""/>
        <dsp:cNvSpPr/>
      </dsp:nvSpPr>
      <dsp:spPr>
        <a:xfrm>
          <a:off x="2798813" y="-54982"/>
          <a:ext cx="2446798" cy="32680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iomedical</a:t>
          </a:r>
          <a:endParaRPr lang="en-US" sz="1000" kern="1200" dirty="0"/>
        </a:p>
      </dsp:txBody>
      <dsp:txXfrm>
        <a:off x="2798813" y="-54982"/>
        <a:ext cx="2446798" cy="326804"/>
      </dsp:txXfrm>
    </dsp:sp>
    <dsp:sp modelId="{1DB27703-422F-431E-A122-2B4989BC183B}">
      <dsp:nvSpPr>
        <dsp:cNvPr id="0" name=""/>
        <dsp:cNvSpPr/>
      </dsp:nvSpPr>
      <dsp:spPr>
        <a:xfrm>
          <a:off x="2792195" y="271821"/>
          <a:ext cx="2460035" cy="123096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ndom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VMMC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MTC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rEP</a:t>
          </a:r>
        </a:p>
      </dsp:txBody>
      <dsp:txXfrm>
        <a:off x="2792195" y="271821"/>
        <a:ext cx="2460035" cy="123096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F18B61-A076-48BA-92E1-3651DDC9F629}">
      <dsp:nvSpPr>
        <dsp:cNvPr id="0" name=""/>
        <dsp:cNvSpPr/>
      </dsp:nvSpPr>
      <dsp:spPr>
        <a:xfrm>
          <a:off x="0" y="2720"/>
          <a:ext cx="6089650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258E7E-3D5F-44E8-8E22-37E384B1FF54}">
      <dsp:nvSpPr>
        <dsp:cNvPr id="0" name=""/>
        <dsp:cNvSpPr/>
      </dsp:nvSpPr>
      <dsp:spPr>
        <a:xfrm>
          <a:off x="0" y="2720"/>
          <a:ext cx="6089650" cy="18555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198120" rIns="198120" bIns="198120" numCol="1" spcCol="1270" anchor="t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200" kern="1200"/>
            <a:t>Population group</a:t>
          </a:r>
        </a:p>
      </dsp:txBody>
      <dsp:txXfrm>
        <a:off x="0" y="2720"/>
        <a:ext cx="6089650" cy="1855561"/>
      </dsp:txXfrm>
    </dsp:sp>
    <dsp:sp modelId="{E146C45C-6AC0-4219-9198-261E15B8621E}">
      <dsp:nvSpPr>
        <dsp:cNvPr id="0" name=""/>
        <dsp:cNvSpPr/>
      </dsp:nvSpPr>
      <dsp:spPr>
        <a:xfrm>
          <a:off x="0" y="1858281"/>
          <a:ext cx="6089650" cy="0"/>
        </a:xfrm>
        <a:prstGeom prst="line">
          <a:avLst/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accent2">
              <a:hueOff val="-727682"/>
              <a:satOff val="-41964"/>
              <a:lumOff val="431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DC518C-89E8-471A-A4EE-C093FD4B99BE}">
      <dsp:nvSpPr>
        <dsp:cNvPr id="0" name=""/>
        <dsp:cNvSpPr/>
      </dsp:nvSpPr>
      <dsp:spPr>
        <a:xfrm>
          <a:off x="0" y="1858281"/>
          <a:ext cx="6089650" cy="18555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198120" rIns="198120" bIns="198120" numCol="1" spcCol="1270" anchor="t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200" kern="1200" dirty="0"/>
            <a:t>National or sub-national region</a:t>
          </a:r>
        </a:p>
      </dsp:txBody>
      <dsp:txXfrm>
        <a:off x="0" y="1858281"/>
        <a:ext cx="6089650" cy="1855561"/>
      </dsp:txXfrm>
    </dsp:sp>
    <dsp:sp modelId="{22714B10-0FD6-4E20-B976-52342A1928B8}">
      <dsp:nvSpPr>
        <dsp:cNvPr id="0" name=""/>
        <dsp:cNvSpPr/>
      </dsp:nvSpPr>
      <dsp:spPr>
        <a:xfrm>
          <a:off x="0" y="3713843"/>
          <a:ext cx="6089650" cy="0"/>
        </a:xfrm>
        <a:prstGeom prst="line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0F56A4-7EBF-4C2E-93B6-D8A68AB063C3}">
      <dsp:nvSpPr>
        <dsp:cNvPr id="0" name=""/>
        <dsp:cNvSpPr/>
      </dsp:nvSpPr>
      <dsp:spPr>
        <a:xfrm>
          <a:off x="0" y="3713843"/>
          <a:ext cx="6089650" cy="18555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120" tIns="198120" rIns="198120" bIns="198120" numCol="1" spcCol="1270" anchor="t" anchorCtr="0">
          <a:noAutofit/>
        </a:bodyPr>
        <a:lstStyle/>
        <a:p>
          <a:pPr marL="0" lvl="0" indent="0" algn="l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200" kern="1200"/>
            <a:t>Age</a:t>
          </a:r>
        </a:p>
      </dsp:txBody>
      <dsp:txXfrm>
        <a:off x="0" y="3713843"/>
        <a:ext cx="6089650" cy="185556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EF250C-AC4C-43FB-B7FC-E13B7B4330AD}">
      <dsp:nvSpPr>
        <dsp:cNvPr id="0" name=""/>
        <dsp:cNvSpPr/>
      </dsp:nvSpPr>
      <dsp:spPr>
        <a:xfrm>
          <a:off x="9253985" y="0"/>
          <a:ext cx="1857861" cy="52236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Viral Suppression</a:t>
          </a:r>
        </a:p>
      </dsp:txBody>
      <dsp:txXfrm>
        <a:off x="9253985" y="0"/>
        <a:ext cx="1857861" cy="1567092"/>
      </dsp:txXfrm>
    </dsp:sp>
    <dsp:sp modelId="{B1D0AF92-3922-4056-B76B-79589C61C46D}">
      <dsp:nvSpPr>
        <dsp:cNvPr id="0" name=""/>
        <dsp:cNvSpPr/>
      </dsp:nvSpPr>
      <dsp:spPr>
        <a:xfrm>
          <a:off x="7086481" y="0"/>
          <a:ext cx="1857861" cy="52236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Linkage to Care</a:t>
          </a:r>
        </a:p>
      </dsp:txBody>
      <dsp:txXfrm>
        <a:off x="7086481" y="0"/>
        <a:ext cx="1857861" cy="1567092"/>
      </dsp:txXfrm>
    </dsp:sp>
    <dsp:sp modelId="{32550C25-7278-407B-8A89-CB9FA5F08577}">
      <dsp:nvSpPr>
        <dsp:cNvPr id="0" name=""/>
        <dsp:cNvSpPr/>
      </dsp:nvSpPr>
      <dsp:spPr>
        <a:xfrm>
          <a:off x="4918976" y="0"/>
          <a:ext cx="1857861" cy="52236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esting</a:t>
          </a:r>
        </a:p>
      </dsp:txBody>
      <dsp:txXfrm>
        <a:off x="4918976" y="0"/>
        <a:ext cx="1857861" cy="1567092"/>
      </dsp:txXfrm>
    </dsp:sp>
    <dsp:sp modelId="{02ABBB39-9375-493F-A5F8-4F65BA689FBE}">
      <dsp:nvSpPr>
        <dsp:cNvPr id="0" name=""/>
        <dsp:cNvSpPr/>
      </dsp:nvSpPr>
      <dsp:spPr>
        <a:xfrm>
          <a:off x="2751471" y="0"/>
          <a:ext cx="1857861" cy="52236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HIV Status</a:t>
          </a:r>
        </a:p>
      </dsp:txBody>
      <dsp:txXfrm>
        <a:off x="2751471" y="0"/>
        <a:ext cx="1857861" cy="1567092"/>
      </dsp:txXfrm>
    </dsp:sp>
    <dsp:sp modelId="{02CC6015-E950-4682-B36C-2A19AD653A84}">
      <dsp:nvSpPr>
        <dsp:cNvPr id="0" name=""/>
        <dsp:cNvSpPr/>
      </dsp:nvSpPr>
      <dsp:spPr>
        <a:xfrm>
          <a:off x="583967" y="0"/>
          <a:ext cx="1857861" cy="522364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opulation</a:t>
          </a:r>
        </a:p>
      </dsp:txBody>
      <dsp:txXfrm>
        <a:off x="583967" y="0"/>
        <a:ext cx="1857861" cy="1567092"/>
      </dsp:txXfrm>
    </dsp:sp>
    <dsp:sp modelId="{D08650A9-A8CC-4DB9-9880-C1205D2244C5}">
      <dsp:nvSpPr>
        <dsp:cNvPr id="0" name=""/>
        <dsp:cNvSpPr/>
      </dsp:nvSpPr>
      <dsp:spPr>
        <a:xfrm>
          <a:off x="738789" y="2446897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Population</a:t>
          </a:r>
        </a:p>
      </dsp:txBody>
      <dsp:txXfrm>
        <a:off x="761462" y="2469570"/>
        <a:ext cx="1502871" cy="728762"/>
      </dsp:txXfrm>
    </dsp:sp>
    <dsp:sp modelId="{D81D276A-709A-46E2-928E-D6210FAEC5AF}">
      <dsp:nvSpPr>
        <dsp:cNvPr id="0" name=""/>
        <dsp:cNvSpPr/>
      </dsp:nvSpPr>
      <dsp:spPr>
        <a:xfrm rot="18365262">
          <a:off x="2067292" y="2388584"/>
          <a:ext cx="1069227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1069227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575175" y="2375191"/>
        <a:ext cx="53461" cy="53461"/>
      </dsp:txXfrm>
    </dsp:sp>
    <dsp:sp modelId="{F9963254-F89B-4EFF-AC4C-7E0F06EC8728}">
      <dsp:nvSpPr>
        <dsp:cNvPr id="0" name=""/>
        <dsp:cNvSpPr/>
      </dsp:nvSpPr>
      <dsp:spPr>
        <a:xfrm>
          <a:off x="2916806" y="1582837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HIV+</a:t>
          </a:r>
        </a:p>
      </dsp:txBody>
      <dsp:txXfrm>
        <a:off x="2939479" y="1605510"/>
        <a:ext cx="1502871" cy="728762"/>
      </dsp:txXfrm>
    </dsp:sp>
    <dsp:sp modelId="{D8C68C73-664B-4A22-8E1A-0B8839AE2111}">
      <dsp:nvSpPr>
        <dsp:cNvPr id="0" name=""/>
        <dsp:cNvSpPr/>
      </dsp:nvSpPr>
      <dsp:spPr>
        <a:xfrm rot="19419071">
          <a:off x="4393143" y="1737601"/>
          <a:ext cx="738832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738832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744089" y="1732468"/>
        <a:ext cx="36941" cy="36941"/>
      </dsp:txXfrm>
    </dsp:sp>
    <dsp:sp modelId="{81BF3E8F-3624-420C-8DE7-15A870CB2599}">
      <dsp:nvSpPr>
        <dsp:cNvPr id="0" name=""/>
        <dsp:cNvSpPr/>
      </dsp:nvSpPr>
      <dsp:spPr>
        <a:xfrm>
          <a:off x="5060096" y="1144932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Diagnosed</a:t>
          </a:r>
        </a:p>
      </dsp:txBody>
      <dsp:txXfrm>
        <a:off x="5082769" y="1167605"/>
        <a:ext cx="1502871" cy="728762"/>
      </dsp:txXfrm>
    </dsp:sp>
    <dsp:sp modelId="{BBFCA56A-4112-471F-96D2-B9D70A870D0A}">
      <dsp:nvSpPr>
        <dsp:cNvPr id="0" name=""/>
        <dsp:cNvSpPr/>
      </dsp:nvSpPr>
      <dsp:spPr>
        <a:xfrm rot="21579693">
          <a:off x="6608308" y="1516810"/>
          <a:ext cx="622487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22487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903990" y="1514585"/>
        <a:ext cx="31124" cy="31124"/>
      </dsp:txXfrm>
    </dsp:sp>
    <dsp:sp modelId="{9303516C-20A2-409A-9568-6D79F7391A73}">
      <dsp:nvSpPr>
        <dsp:cNvPr id="0" name=""/>
        <dsp:cNvSpPr/>
      </dsp:nvSpPr>
      <dsp:spPr>
        <a:xfrm>
          <a:off x="7230790" y="1141255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On ART</a:t>
          </a:r>
        </a:p>
      </dsp:txBody>
      <dsp:txXfrm>
        <a:off x="7253463" y="1163928"/>
        <a:ext cx="1502871" cy="728762"/>
      </dsp:txXfrm>
    </dsp:sp>
    <dsp:sp modelId="{A5FEE92F-B30C-4BE3-BDBD-4324373AE959}">
      <dsp:nvSpPr>
        <dsp:cNvPr id="0" name=""/>
        <dsp:cNvSpPr/>
      </dsp:nvSpPr>
      <dsp:spPr>
        <a:xfrm rot="96232">
          <a:off x="8778886" y="1523642"/>
          <a:ext cx="619529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19529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9073163" y="1521491"/>
        <a:ext cx="30976" cy="30976"/>
      </dsp:txXfrm>
    </dsp:sp>
    <dsp:sp modelId="{3CF4668F-8312-4060-A378-76E6B0BF6231}">
      <dsp:nvSpPr>
        <dsp:cNvPr id="0" name=""/>
        <dsp:cNvSpPr/>
      </dsp:nvSpPr>
      <dsp:spPr>
        <a:xfrm>
          <a:off x="9398294" y="1158595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Virally Suppressed</a:t>
          </a:r>
        </a:p>
      </dsp:txBody>
      <dsp:txXfrm>
        <a:off x="9420967" y="1181268"/>
        <a:ext cx="1502871" cy="728762"/>
      </dsp:txXfrm>
    </dsp:sp>
    <dsp:sp modelId="{C4A08F74-8DA5-4147-A45D-76B1E540BE62}">
      <dsp:nvSpPr>
        <dsp:cNvPr id="0" name=""/>
        <dsp:cNvSpPr/>
      </dsp:nvSpPr>
      <dsp:spPr>
        <a:xfrm rot="3341514">
          <a:off x="8539290" y="1968754"/>
          <a:ext cx="1098722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1098722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9061183" y="1954623"/>
        <a:ext cx="54936" cy="54936"/>
      </dsp:txXfrm>
    </dsp:sp>
    <dsp:sp modelId="{2A3582DA-5AD2-42E2-9492-4321684B4E44}">
      <dsp:nvSpPr>
        <dsp:cNvPr id="0" name=""/>
        <dsp:cNvSpPr/>
      </dsp:nvSpPr>
      <dsp:spPr>
        <a:xfrm>
          <a:off x="9398294" y="2048820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Not Suppressed</a:t>
          </a:r>
        </a:p>
      </dsp:txBody>
      <dsp:txXfrm>
        <a:off x="9420967" y="2071493"/>
        <a:ext cx="1502871" cy="728762"/>
      </dsp:txXfrm>
    </dsp:sp>
    <dsp:sp modelId="{D9FC3545-A2B6-4E59-8624-FC150C829DE3}">
      <dsp:nvSpPr>
        <dsp:cNvPr id="0" name=""/>
        <dsp:cNvSpPr/>
      </dsp:nvSpPr>
      <dsp:spPr>
        <a:xfrm rot="3432041">
          <a:off x="6349439" y="1993452"/>
          <a:ext cx="1129713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1129713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886053" y="1978547"/>
        <a:ext cx="56485" cy="56485"/>
      </dsp:txXfrm>
    </dsp:sp>
    <dsp:sp modelId="{2953410E-3B6A-4420-ADBB-ACA39AB7E67A}">
      <dsp:nvSpPr>
        <dsp:cNvPr id="0" name=""/>
        <dsp:cNvSpPr/>
      </dsp:nvSpPr>
      <dsp:spPr>
        <a:xfrm>
          <a:off x="7220277" y="2094539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Not in ART</a:t>
          </a:r>
        </a:p>
      </dsp:txBody>
      <dsp:txXfrm>
        <a:off x="7242950" y="2117212"/>
        <a:ext cx="1502871" cy="728762"/>
      </dsp:txXfrm>
    </dsp:sp>
    <dsp:sp modelId="{61D7AAA7-EE4B-4382-A93C-A5F85EFF0449}">
      <dsp:nvSpPr>
        <dsp:cNvPr id="0" name=""/>
        <dsp:cNvSpPr/>
      </dsp:nvSpPr>
      <dsp:spPr>
        <a:xfrm rot="2555117">
          <a:off x="4358447" y="2230012"/>
          <a:ext cx="808225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808225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742354" y="2223144"/>
        <a:ext cx="40411" cy="40411"/>
      </dsp:txXfrm>
    </dsp:sp>
    <dsp:sp modelId="{9BC61C62-EFD8-4C81-B1AF-AADC409F959F}">
      <dsp:nvSpPr>
        <dsp:cNvPr id="0" name=""/>
        <dsp:cNvSpPr/>
      </dsp:nvSpPr>
      <dsp:spPr>
        <a:xfrm>
          <a:off x="5060096" y="2129753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Undiagnosed</a:t>
          </a:r>
        </a:p>
      </dsp:txBody>
      <dsp:txXfrm>
        <a:off x="5082769" y="2152426"/>
        <a:ext cx="1502871" cy="728762"/>
      </dsp:txXfrm>
    </dsp:sp>
    <dsp:sp modelId="{6EE07868-8C57-4043-ADCF-2B85B33FD1B7}">
      <dsp:nvSpPr>
        <dsp:cNvPr id="0" name=""/>
        <dsp:cNvSpPr/>
      </dsp:nvSpPr>
      <dsp:spPr>
        <a:xfrm rot="2743917">
          <a:off x="2146223" y="3154449"/>
          <a:ext cx="93239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932391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589109" y="3144476"/>
        <a:ext cx="46619" cy="46619"/>
      </dsp:txXfrm>
    </dsp:sp>
    <dsp:sp modelId="{DA8FBE57-ACA9-4A7F-B434-98B05BE55828}">
      <dsp:nvSpPr>
        <dsp:cNvPr id="0" name=""/>
        <dsp:cNvSpPr/>
      </dsp:nvSpPr>
      <dsp:spPr>
        <a:xfrm>
          <a:off x="2937830" y="3114566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HIV-</a:t>
          </a:r>
        </a:p>
      </dsp:txBody>
      <dsp:txXfrm>
        <a:off x="2960503" y="3137239"/>
        <a:ext cx="1502871" cy="728762"/>
      </dsp:txXfrm>
    </dsp:sp>
    <dsp:sp modelId="{4A32F9C5-624D-4C53-BB1A-B2729C881364}">
      <dsp:nvSpPr>
        <dsp:cNvPr id="0" name=""/>
        <dsp:cNvSpPr/>
      </dsp:nvSpPr>
      <dsp:spPr>
        <a:xfrm rot="21537099">
          <a:off x="4486000" y="3483031"/>
          <a:ext cx="574144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74144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758718" y="3482015"/>
        <a:ext cx="28707" cy="28707"/>
      </dsp:txXfrm>
    </dsp:sp>
    <dsp:sp modelId="{1A01ACBA-0339-43F6-8A7D-B0066C6852EF}">
      <dsp:nvSpPr>
        <dsp:cNvPr id="0" name=""/>
        <dsp:cNvSpPr/>
      </dsp:nvSpPr>
      <dsp:spPr>
        <a:xfrm>
          <a:off x="5060096" y="3104062"/>
          <a:ext cx="1548217" cy="7741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Confirmed HIV-</a:t>
          </a:r>
        </a:p>
      </dsp:txBody>
      <dsp:txXfrm>
        <a:off x="5082769" y="3126735"/>
        <a:ext cx="1502871" cy="72876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D4835A-E9E6-4B43-BE98-39440335CEBF}">
      <dsp:nvSpPr>
        <dsp:cNvPr id="0" name=""/>
        <dsp:cNvSpPr/>
      </dsp:nvSpPr>
      <dsp:spPr>
        <a:xfrm rot="5400000">
          <a:off x="4695981" y="131644"/>
          <a:ext cx="2025302" cy="176201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ccess to justice</a:t>
          </a:r>
        </a:p>
      </dsp:txBody>
      <dsp:txXfrm rot="-5400000">
        <a:off x="5102205" y="315610"/>
        <a:ext cx="1212853" cy="1394082"/>
      </dsp:txXfrm>
    </dsp:sp>
    <dsp:sp modelId="{2A123173-16D2-4C28-BC0E-D6506089A518}">
      <dsp:nvSpPr>
        <dsp:cNvPr id="0" name=""/>
        <dsp:cNvSpPr/>
      </dsp:nvSpPr>
      <dsp:spPr>
        <a:xfrm>
          <a:off x="6643107" y="408427"/>
          <a:ext cx="2260237" cy="12151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643107" y="408427"/>
        <a:ext cx="2260237" cy="1215181"/>
      </dsp:txXfrm>
    </dsp:sp>
    <dsp:sp modelId="{1DBE2474-876A-40CA-9B1C-CFC98A07B759}">
      <dsp:nvSpPr>
        <dsp:cNvPr id="0" name=""/>
        <dsp:cNvSpPr/>
      </dsp:nvSpPr>
      <dsp:spPr>
        <a:xfrm rot="5400000">
          <a:off x="2793006" y="135011"/>
          <a:ext cx="2025302" cy="176201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tigma and discrimination</a:t>
          </a:r>
        </a:p>
      </dsp:txBody>
      <dsp:txXfrm rot="-5400000">
        <a:off x="3199230" y="318977"/>
        <a:ext cx="1212853" cy="1394082"/>
      </dsp:txXfrm>
    </dsp:sp>
    <dsp:sp modelId="{0642D536-C35B-4BCB-9367-136BFF3B24E0}">
      <dsp:nvSpPr>
        <dsp:cNvPr id="0" name=""/>
        <dsp:cNvSpPr/>
      </dsp:nvSpPr>
      <dsp:spPr>
        <a:xfrm rot="5400000">
          <a:off x="3740848" y="1854088"/>
          <a:ext cx="2025302" cy="176201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Human rights</a:t>
          </a:r>
        </a:p>
      </dsp:txBody>
      <dsp:txXfrm rot="-5400000">
        <a:off x="4147072" y="2038054"/>
        <a:ext cx="1212853" cy="1394082"/>
      </dsp:txXfrm>
    </dsp:sp>
    <dsp:sp modelId="{27505D7B-8219-4D90-A47D-C91258B1D22B}">
      <dsp:nvSpPr>
        <dsp:cNvPr id="0" name=""/>
        <dsp:cNvSpPr/>
      </dsp:nvSpPr>
      <dsp:spPr>
        <a:xfrm>
          <a:off x="1612255" y="2127504"/>
          <a:ext cx="2187326" cy="12151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1612255" y="2127504"/>
        <a:ext cx="2187326" cy="1215181"/>
      </dsp:txXfrm>
    </dsp:sp>
    <dsp:sp modelId="{C2097443-CB6D-4805-9AA9-826BECD6164E}">
      <dsp:nvSpPr>
        <dsp:cNvPr id="0" name=""/>
        <dsp:cNvSpPr/>
      </dsp:nvSpPr>
      <dsp:spPr>
        <a:xfrm rot="5400000">
          <a:off x="5643822" y="1854088"/>
          <a:ext cx="2025302" cy="176201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/>
            <a:t>Decrimin-alization</a:t>
          </a:r>
          <a:endParaRPr lang="en-US" sz="2400" kern="1200" dirty="0"/>
        </a:p>
      </dsp:txBody>
      <dsp:txXfrm rot="-5400000">
        <a:off x="6050046" y="2038054"/>
        <a:ext cx="1212853" cy="1394082"/>
      </dsp:txXfrm>
    </dsp:sp>
    <dsp:sp modelId="{913C24F7-6E3D-4A69-8381-B263F30B95BF}">
      <dsp:nvSpPr>
        <dsp:cNvPr id="0" name=""/>
        <dsp:cNvSpPr/>
      </dsp:nvSpPr>
      <dsp:spPr>
        <a:xfrm rot="5400000">
          <a:off x="4695981" y="3573165"/>
          <a:ext cx="2025302" cy="176201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Community involvement</a:t>
          </a:r>
        </a:p>
      </dsp:txBody>
      <dsp:txXfrm rot="-5400000">
        <a:off x="5102205" y="3757131"/>
        <a:ext cx="1212853" cy="1394082"/>
      </dsp:txXfrm>
    </dsp:sp>
    <dsp:sp modelId="{3996072E-6742-4F19-B358-6B373123AD97}">
      <dsp:nvSpPr>
        <dsp:cNvPr id="0" name=""/>
        <dsp:cNvSpPr/>
      </dsp:nvSpPr>
      <dsp:spPr>
        <a:xfrm>
          <a:off x="6643107" y="3846581"/>
          <a:ext cx="2260237" cy="12151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643107" y="3846581"/>
        <a:ext cx="2260237" cy="1215181"/>
      </dsp:txXfrm>
    </dsp:sp>
    <dsp:sp modelId="{4B49AF9E-653C-46F8-A408-47876AB83FE6}">
      <dsp:nvSpPr>
        <dsp:cNvPr id="0" name=""/>
        <dsp:cNvSpPr/>
      </dsp:nvSpPr>
      <dsp:spPr>
        <a:xfrm rot="5400000">
          <a:off x="2793006" y="3573165"/>
          <a:ext cx="2025302" cy="176201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Prevention of GBV</a:t>
          </a:r>
        </a:p>
      </dsp:txBody>
      <dsp:txXfrm rot="-5400000">
        <a:off x="3199230" y="3757131"/>
        <a:ext cx="1212853" cy="13940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1846</cdr:x>
      <cdr:y>0.11019</cdr:y>
    </cdr:from>
    <cdr:to>
      <cdr:x>0.69489</cdr:x>
      <cdr:y>0.2375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278E8436-A709-4E9D-9FC3-5A43CABFC1A7}"/>
            </a:ext>
          </a:extLst>
        </cdr:cNvPr>
        <cdr:cNvSpPr txBox="1"/>
      </cdr:nvSpPr>
      <cdr:spPr>
        <a:xfrm xmlns:a="http://schemas.openxmlformats.org/drawingml/2006/main">
          <a:off x="3348789" y="541421"/>
          <a:ext cx="3958390" cy="6256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3200" dirty="0">
              <a:solidFill>
                <a:schemeClr val="accent5"/>
              </a:solidFill>
            </a:rPr>
            <a:t>New Infections</a:t>
          </a:r>
          <a:endParaRPr lang="en-US" sz="1100" dirty="0">
            <a:solidFill>
              <a:schemeClr val="accent5"/>
            </a:solidFill>
          </a:endParaRPr>
        </a:p>
      </cdr:txBody>
    </cdr:sp>
  </cdr:relSizeAnchor>
  <cdr:relSizeAnchor xmlns:cdr="http://schemas.openxmlformats.org/drawingml/2006/chartDrawing">
    <cdr:from>
      <cdr:x>0.12357</cdr:x>
      <cdr:y>0.56372</cdr:y>
    </cdr:from>
    <cdr:to>
      <cdr:x>0.5</cdr:x>
      <cdr:y>0.6910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2389949D-D427-4E4F-B7A7-E2ACA7F7FB88}"/>
            </a:ext>
          </a:extLst>
        </cdr:cNvPr>
        <cdr:cNvSpPr txBox="1"/>
      </cdr:nvSpPr>
      <cdr:spPr>
        <a:xfrm xmlns:a="http://schemas.openxmlformats.org/drawingml/2006/main">
          <a:off x="1299410" y="2769937"/>
          <a:ext cx="3958390" cy="6256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3200" dirty="0">
              <a:solidFill>
                <a:schemeClr val="accent2"/>
              </a:solidFill>
            </a:rPr>
            <a:t>AIDS Deaths</a:t>
          </a:r>
          <a:endParaRPr lang="en-US" sz="1100" dirty="0">
            <a:solidFill>
              <a:schemeClr val="accent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25830C-B561-483D-9A49-54F245D4E54B}" type="datetimeFigureOut">
              <a:rPr lang="en-US" smtClean="0"/>
              <a:t>7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035FDE-06DC-439E-A224-B44F2734F5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986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35FDE-06DC-439E-A224-B44F2734F58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974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0408044-D9B8-4BE3-BDF2-3C7D30868132}" type="slidenum">
              <a:rPr lang="de-DE"/>
              <a:pPr/>
              <a:t>4</a:t>
            </a:fld>
            <a:endParaRPr lang="de-DE"/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044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als divides</a:t>
            </a:r>
            <a:r>
              <a:rPr lang="en-US" baseline="0" dirty="0"/>
              <a:t> the population into risk groups and uses information about the behavior of each group to estimate transmission. Two types of interventions can affect transmission. The bio-medical interventions (condoms, </a:t>
            </a:r>
            <a:r>
              <a:rPr lang="en-US" baseline="0" dirty="0" err="1"/>
              <a:t>PrEP</a:t>
            </a:r>
            <a:r>
              <a:rPr lang="en-US" baseline="0" dirty="0"/>
              <a:t>, MC, ART) directly affect the probability of transmission per act. The behavior change interventions affect the behaviors that lead to risk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35FDE-06DC-439E-A224-B44F2734F58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030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als divides</a:t>
            </a:r>
            <a:r>
              <a:rPr lang="en-US" baseline="0" dirty="0"/>
              <a:t> the population into risk groups and uses information about the behavior of each group to estimate transmission. Two types of interventions can affect transmission. The bio-medical interventions (condoms, </a:t>
            </a:r>
            <a:r>
              <a:rPr lang="en-US" baseline="0" dirty="0" err="1"/>
              <a:t>PrEP</a:t>
            </a:r>
            <a:r>
              <a:rPr lang="en-US" baseline="0" dirty="0"/>
              <a:t>, MC, ART) directly affect the probability of transmission per act. The behavior change interventions affect the behaviors that lead to risk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35FDE-06DC-439E-A224-B44F2734F58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839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oals divides</a:t>
            </a:r>
            <a:r>
              <a:rPr lang="en-US" baseline="0" dirty="0"/>
              <a:t> the population into risk groups and uses information about the behavior of each group to estimate transmission. Two types of interventions can affect transmission. The bio-medical interventions (condoms, </a:t>
            </a:r>
            <a:r>
              <a:rPr lang="en-US" baseline="0" dirty="0" err="1"/>
              <a:t>PrEP</a:t>
            </a:r>
            <a:r>
              <a:rPr lang="en-US" baseline="0" dirty="0"/>
              <a:t>, MC, ART) directly affect the probability of transmission per act. The behavior change interventions affect the behaviors that lead to risk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35FDE-06DC-439E-A224-B44F2734F58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064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665881-B5D1-4DB7-BABE-BAFF6661F9F3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015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93013A-B093-4A1D-ADF9-EF295D9618A6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9DF98E-4D2A-444D-BA57-8B73A69D76DA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8A3C5-3B52-4D2F-8CF0-C646A67C1DE1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DA0DF-6403-4046-B7E5-763AB4600B7C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24D01-A0C3-4D6B-B7F1-1BEB5BEDB580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5B2C4-832D-45B6-9BAA-FF73605BC61F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6EA6-C791-4E21-8912-72B034076C56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5676E-4F64-4E53-9B4D-D91EC873DEE7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893EBE-5800-4EB8-A1C3-11F793B862B8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459E1-E749-482B-AEC3-36465D03C7E2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F6DBA-BE96-411E-9DE2-68E309A7C9FE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43F96-7D2B-4413-9DB1-87F80A40C45A}" type="datetime1">
              <a:rPr lang="en-US" smtClean="0"/>
              <a:t>7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562" y="6292029"/>
            <a:ext cx="1077230" cy="4294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notesSlide" Target="../notesSlides/notesSlide2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image" Target="../media/image2.png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41620" y="1122363"/>
            <a:ext cx="8526379" cy="2387600"/>
          </a:xfrm>
        </p:spPr>
        <p:txBody>
          <a:bodyPr anchor="ctr">
            <a:normAutofit/>
          </a:bodyPr>
          <a:lstStyle/>
          <a:p>
            <a:pPr algn="l"/>
            <a:r>
              <a:rPr lang="en-US" sz="5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odeling the End of AID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anchor="ctr">
            <a:normAutofit/>
          </a:bodyPr>
          <a:lstStyle/>
          <a:p>
            <a:pPr algn="r"/>
            <a:endParaRPr lang="en-US" sz="2000" dirty="0">
              <a:solidFill>
                <a:schemeClr val="accent1"/>
              </a:solidFill>
            </a:endParaRPr>
          </a:p>
          <a:p>
            <a:pPr indent="-457200"/>
            <a:r>
              <a:rPr lang="en-US" sz="3200" dirty="0">
                <a:solidFill>
                  <a:schemeClr val="accent1"/>
                </a:solidFill>
              </a:rPr>
              <a:t>2025 AIDS Targets, IAS Science Satellite</a:t>
            </a:r>
          </a:p>
          <a:p>
            <a:r>
              <a:rPr lang="en-US" sz="3200" dirty="0">
                <a:solidFill>
                  <a:schemeClr val="accent1"/>
                </a:solidFill>
              </a:rPr>
              <a:t>21 July 2019, Mexico City</a:t>
            </a:r>
          </a:p>
        </p:txBody>
      </p:sp>
    </p:spTree>
    <p:extLst>
      <p:ext uri="{BB962C8B-B14F-4D97-AF65-F5344CB8AC3E}">
        <p14:creationId xmlns:p14="http://schemas.microsoft.com/office/powerpoint/2010/main" val="2348970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A8104-AC57-47AE-B479-C380741EC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4032"/>
            <a:ext cx="10515600" cy="842920"/>
          </a:xfrm>
        </p:spPr>
        <p:txBody>
          <a:bodyPr/>
          <a:lstStyle/>
          <a:p>
            <a:r>
              <a:rPr lang="en-US" dirty="0"/>
              <a:t>Treatment Cascad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19F5565-3B61-43F2-8534-7DBCB95F51D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3336135"/>
              </p:ext>
            </p:extLst>
          </p:nvPr>
        </p:nvGraphicFramePr>
        <p:xfrm>
          <a:off x="-512318" y="1072057"/>
          <a:ext cx="11695814" cy="5223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1F01552-AAFF-45F8-93EE-FE7ABE30C88E}"/>
              </a:ext>
            </a:extLst>
          </p:cNvPr>
          <p:cNvSpPr txBox="1"/>
          <p:nvPr/>
        </p:nvSpPr>
        <p:spPr>
          <a:xfrm>
            <a:off x="4750187" y="5150426"/>
            <a:ext cx="14767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ITC, VCT,</a:t>
            </a:r>
          </a:p>
          <a:p>
            <a:r>
              <a:rPr lang="en-US" dirty="0"/>
              <a:t>Mobile, CBT,</a:t>
            </a:r>
          </a:p>
          <a:p>
            <a:r>
              <a:rPr lang="en-US" dirty="0"/>
              <a:t>Self-tes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A625DB-8B46-4DDB-97F5-DF34CC998968}"/>
              </a:ext>
            </a:extLst>
          </p:cNvPr>
          <p:cNvSpPr txBox="1"/>
          <p:nvPr/>
        </p:nvSpPr>
        <p:spPr>
          <a:xfrm>
            <a:off x="6653048" y="4180573"/>
            <a:ext cx="1734207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esting channel</a:t>
            </a:r>
          </a:p>
          <a:p>
            <a:pPr algn="ctr"/>
            <a:r>
              <a:rPr lang="en-US" sz="1600" dirty="0"/>
              <a:t>Same day initiation</a:t>
            </a:r>
          </a:p>
          <a:p>
            <a:pPr algn="ctr"/>
            <a:r>
              <a:rPr lang="en-US" sz="1600" dirty="0"/>
              <a:t>Stigma reduction</a:t>
            </a:r>
          </a:p>
          <a:p>
            <a:pPr algn="ctr"/>
            <a:r>
              <a:rPr lang="en-US" sz="1600" dirty="0"/>
              <a:t>Provider training</a:t>
            </a:r>
          </a:p>
          <a:p>
            <a:pPr algn="ctr"/>
            <a:r>
              <a:rPr lang="en-US" sz="1600" dirty="0"/>
              <a:t>Provider – patient communications</a:t>
            </a: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B920C3-0FEA-41CE-A730-85CFA819C8C8}"/>
              </a:ext>
            </a:extLst>
          </p:cNvPr>
          <p:cNvSpPr txBox="1"/>
          <p:nvPr/>
        </p:nvSpPr>
        <p:spPr>
          <a:xfrm>
            <a:off x="8813413" y="3980875"/>
            <a:ext cx="1734207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Adherence clubs</a:t>
            </a:r>
          </a:p>
          <a:p>
            <a:pPr algn="ctr"/>
            <a:r>
              <a:rPr lang="en-US" sz="1400" dirty="0"/>
              <a:t>Community organizations</a:t>
            </a:r>
          </a:p>
          <a:p>
            <a:pPr algn="ctr"/>
            <a:r>
              <a:rPr lang="en-US" sz="1400" dirty="0"/>
              <a:t>Stigma reduction</a:t>
            </a:r>
          </a:p>
          <a:p>
            <a:pPr algn="ctr"/>
            <a:r>
              <a:rPr lang="en-US" sz="1400" dirty="0"/>
              <a:t>SMS reminders</a:t>
            </a:r>
          </a:p>
          <a:p>
            <a:pPr algn="ctr"/>
            <a:r>
              <a:rPr lang="en-US" sz="1400" dirty="0"/>
              <a:t>Cognitive behavioral therapy</a:t>
            </a:r>
          </a:p>
          <a:p>
            <a:pPr algn="ctr"/>
            <a:r>
              <a:rPr lang="en-US" sz="1400" dirty="0"/>
              <a:t>Individual suppor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3082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16E00F9-AF06-4D29-B246-0212F3994079}"/>
              </a:ext>
            </a:extLst>
          </p:cNvPr>
          <p:cNvSpPr/>
          <p:nvPr/>
        </p:nvSpPr>
        <p:spPr>
          <a:xfrm>
            <a:off x="0" y="0"/>
            <a:ext cx="5871411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799E45-D1C0-4439-8255-E8EC9C260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221" y="3100219"/>
            <a:ext cx="10515600" cy="657559"/>
          </a:xfrm>
        </p:spPr>
        <p:txBody>
          <a:bodyPr>
            <a:normAutofit fontScale="90000"/>
          </a:bodyPr>
          <a:lstStyle/>
          <a:p>
            <a:r>
              <a:rPr lang="en-US" sz="6700" dirty="0">
                <a:solidFill>
                  <a:schemeClr val="bg1"/>
                </a:solidFill>
              </a:rPr>
              <a:t>Social Enablers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6E206205-CF26-4F3A-8542-DFF1E53323B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89224426"/>
              </p:ext>
            </p:extLst>
          </p:nvPr>
        </p:nvGraphicFramePr>
        <p:xfrm>
          <a:off x="3485147" y="693904"/>
          <a:ext cx="10515600" cy="54701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9A974D-E5E2-4996-9192-DF908F9EC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1287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9064D-0F3C-471B-8BF9-737C8B3E2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86345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Illustrative Resource Needs by Intervention, Country and Year</a:t>
            </a:r>
            <a:endParaRPr lang="en-US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CB01F24B-200C-40AC-B282-45B5E9CAA3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87317805"/>
              </p:ext>
            </p:extLst>
          </p:nvPr>
        </p:nvGraphicFramePr>
        <p:xfrm>
          <a:off x="589547" y="1223319"/>
          <a:ext cx="10764253" cy="4953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01A302-032E-498C-93BE-91936EEDBC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278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8C4943-9A38-46AA-983A-FC066449C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98191"/>
          </a:xfrm>
        </p:spPr>
        <p:txBody>
          <a:bodyPr/>
          <a:lstStyle/>
          <a:p>
            <a:r>
              <a:rPr lang="en-US" dirty="0"/>
              <a:t>Illustrative Global Impact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1326F79C-B724-4D0E-A5A0-3A7DEF7AEF3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67124664"/>
              </p:ext>
            </p:extLst>
          </p:nvPr>
        </p:nvGraphicFramePr>
        <p:xfrm>
          <a:off x="838200" y="1263316"/>
          <a:ext cx="10515600" cy="4913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ACEE04-7E38-4D8E-A28A-F46D55F6F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261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6C2E80F-49A6-4372-B103-219D417A5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4096" y="470925"/>
            <a:ext cx="4381009" cy="5892104"/>
          </a:xfrm>
          <a:custGeom>
            <a:avLst/>
            <a:gdLst>
              <a:gd name="connsiteX0" fmla="*/ 0 w 4381009"/>
              <a:gd name="connsiteY0" fmla="*/ 0 h 5892104"/>
              <a:gd name="connsiteX1" fmla="*/ 4157628 w 4381009"/>
              <a:gd name="connsiteY1" fmla="*/ 0 h 5892104"/>
              <a:gd name="connsiteX2" fmla="*/ 4169302 w 4381009"/>
              <a:gd name="connsiteY2" fmla="*/ 68659 h 5892104"/>
              <a:gd name="connsiteX3" fmla="*/ 4191571 w 4381009"/>
              <a:gd name="connsiteY3" fmla="*/ 205472 h 5892104"/>
              <a:gd name="connsiteX4" fmla="*/ 4213368 w 4381009"/>
              <a:gd name="connsiteY4" fmla="*/ 342890 h 5892104"/>
              <a:gd name="connsiteX5" fmla="*/ 4232030 w 4381009"/>
              <a:gd name="connsiteY5" fmla="*/ 480913 h 5892104"/>
              <a:gd name="connsiteX6" fmla="*/ 4250848 w 4381009"/>
              <a:gd name="connsiteY6" fmla="*/ 618332 h 5892104"/>
              <a:gd name="connsiteX7" fmla="*/ 4268412 w 4381009"/>
              <a:gd name="connsiteY7" fmla="*/ 756355 h 5892104"/>
              <a:gd name="connsiteX8" fmla="*/ 4283467 w 4381009"/>
              <a:gd name="connsiteY8" fmla="*/ 892563 h 5892104"/>
              <a:gd name="connsiteX9" fmla="*/ 4297737 w 4381009"/>
              <a:gd name="connsiteY9" fmla="*/ 1030587 h 5892104"/>
              <a:gd name="connsiteX10" fmla="*/ 4310754 w 4381009"/>
              <a:gd name="connsiteY10" fmla="*/ 1168005 h 5892104"/>
              <a:gd name="connsiteX11" fmla="*/ 4322045 w 4381009"/>
              <a:gd name="connsiteY11" fmla="*/ 1303002 h 5892104"/>
              <a:gd name="connsiteX12" fmla="*/ 4333336 w 4381009"/>
              <a:gd name="connsiteY12" fmla="*/ 1439815 h 5892104"/>
              <a:gd name="connsiteX13" fmla="*/ 4342745 w 4381009"/>
              <a:gd name="connsiteY13" fmla="*/ 1574812 h 5892104"/>
              <a:gd name="connsiteX14" fmla="*/ 4350115 w 4381009"/>
              <a:gd name="connsiteY14" fmla="*/ 1709808 h 5892104"/>
              <a:gd name="connsiteX15" fmla="*/ 4357799 w 4381009"/>
              <a:gd name="connsiteY15" fmla="*/ 1844200 h 5892104"/>
              <a:gd name="connsiteX16" fmla="*/ 4364229 w 4381009"/>
              <a:gd name="connsiteY16" fmla="*/ 1977381 h 5892104"/>
              <a:gd name="connsiteX17" fmla="*/ 4368777 w 4381009"/>
              <a:gd name="connsiteY17" fmla="*/ 2109351 h 5892104"/>
              <a:gd name="connsiteX18" fmla="*/ 4372697 w 4381009"/>
              <a:gd name="connsiteY18" fmla="*/ 2241321 h 5892104"/>
              <a:gd name="connsiteX19" fmla="*/ 4376461 w 4381009"/>
              <a:gd name="connsiteY19" fmla="*/ 2372080 h 5892104"/>
              <a:gd name="connsiteX20" fmla="*/ 4378186 w 4381009"/>
              <a:gd name="connsiteY20" fmla="*/ 2501023 h 5892104"/>
              <a:gd name="connsiteX21" fmla="*/ 4380068 w 4381009"/>
              <a:gd name="connsiteY21" fmla="*/ 2629966 h 5892104"/>
              <a:gd name="connsiteX22" fmla="*/ 4381009 w 4381009"/>
              <a:gd name="connsiteY22" fmla="*/ 2757093 h 5892104"/>
              <a:gd name="connsiteX23" fmla="*/ 4380068 w 4381009"/>
              <a:gd name="connsiteY23" fmla="*/ 2883010 h 5892104"/>
              <a:gd name="connsiteX24" fmla="*/ 4380068 w 4381009"/>
              <a:gd name="connsiteY24" fmla="*/ 3007715 h 5892104"/>
              <a:gd name="connsiteX25" fmla="*/ 4378186 w 4381009"/>
              <a:gd name="connsiteY25" fmla="*/ 3131210 h 5892104"/>
              <a:gd name="connsiteX26" fmla="*/ 4375363 w 4381009"/>
              <a:gd name="connsiteY26" fmla="*/ 3252283 h 5892104"/>
              <a:gd name="connsiteX27" fmla="*/ 4372697 w 4381009"/>
              <a:gd name="connsiteY27" fmla="*/ 3372146 h 5892104"/>
              <a:gd name="connsiteX28" fmla="*/ 4369718 w 4381009"/>
              <a:gd name="connsiteY28" fmla="*/ 3489587 h 5892104"/>
              <a:gd name="connsiteX29" fmla="*/ 4365170 w 4381009"/>
              <a:gd name="connsiteY29" fmla="*/ 3606423 h 5892104"/>
              <a:gd name="connsiteX30" fmla="*/ 4360309 w 4381009"/>
              <a:gd name="connsiteY30" fmla="*/ 3721443 h 5892104"/>
              <a:gd name="connsiteX31" fmla="*/ 4355918 w 4381009"/>
              <a:gd name="connsiteY31" fmla="*/ 3834041 h 5892104"/>
              <a:gd name="connsiteX32" fmla="*/ 4343529 w 4381009"/>
              <a:gd name="connsiteY32" fmla="*/ 4053789 h 5892104"/>
              <a:gd name="connsiteX33" fmla="*/ 4330356 w 4381009"/>
              <a:gd name="connsiteY33" fmla="*/ 4264457 h 5892104"/>
              <a:gd name="connsiteX34" fmla="*/ 4316556 w 4381009"/>
              <a:gd name="connsiteY34" fmla="*/ 4466650 h 5892104"/>
              <a:gd name="connsiteX35" fmla="*/ 4301344 w 4381009"/>
              <a:gd name="connsiteY35" fmla="*/ 4657946 h 5892104"/>
              <a:gd name="connsiteX36" fmla="*/ 4285506 w 4381009"/>
              <a:gd name="connsiteY36" fmla="*/ 4840767 h 5892104"/>
              <a:gd name="connsiteX37" fmla="*/ 4268412 w 4381009"/>
              <a:gd name="connsiteY37" fmla="*/ 5010269 h 5892104"/>
              <a:gd name="connsiteX38" fmla="*/ 4251633 w 4381009"/>
              <a:gd name="connsiteY38" fmla="*/ 5169481 h 5892104"/>
              <a:gd name="connsiteX39" fmla="*/ 4234853 w 4381009"/>
              <a:gd name="connsiteY39" fmla="*/ 5315980 h 5892104"/>
              <a:gd name="connsiteX40" fmla="*/ 4219014 w 4381009"/>
              <a:gd name="connsiteY40" fmla="*/ 5450371 h 5892104"/>
              <a:gd name="connsiteX41" fmla="*/ 4203959 w 4381009"/>
              <a:gd name="connsiteY41" fmla="*/ 5569628 h 5892104"/>
              <a:gd name="connsiteX42" fmla="*/ 4189689 w 4381009"/>
              <a:gd name="connsiteY42" fmla="*/ 5677384 h 5892104"/>
              <a:gd name="connsiteX43" fmla="*/ 4177770 w 4381009"/>
              <a:gd name="connsiteY43" fmla="*/ 5768189 h 5892104"/>
              <a:gd name="connsiteX44" fmla="*/ 4166479 w 4381009"/>
              <a:gd name="connsiteY44" fmla="*/ 5844465 h 5892104"/>
              <a:gd name="connsiteX45" fmla="*/ 4159132 w 4381009"/>
              <a:gd name="connsiteY45" fmla="*/ 5892104 h 5892104"/>
              <a:gd name="connsiteX46" fmla="*/ 0 w 4381009"/>
              <a:gd name="connsiteY46" fmla="*/ 5892104 h 589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381009" h="5892104">
                <a:moveTo>
                  <a:pt x="0" y="0"/>
                </a:moveTo>
                <a:lnTo>
                  <a:pt x="4157628" y="0"/>
                </a:lnTo>
                <a:lnTo>
                  <a:pt x="4169302" y="68659"/>
                </a:lnTo>
                <a:lnTo>
                  <a:pt x="4191571" y="205472"/>
                </a:lnTo>
                <a:lnTo>
                  <a:pt x="4213368" y="342890"/>
                </a:lnTo>
                <a:lnTo>
                  <a:pt x="4232030" y="480913"/>
                </a:lnTo>
                <a:lnTo>
                  <a:pt x="4250848" y="618332"/>
                </a:lnTo>
                <a:lnTo>
                  <a:pt x="4268412" y="756355"/>
                </a:lnTo>
                <a:lnTo>
                  <a:pt x="4283467" y="892563"/>
                </a:lnTo>
                <a:lnTo>
                  <a:pt x="4297737" y="1030587"/>
                </a:lnTo>
                <a:lnTo>
                  <a:pt x="4310754" y="1168005"/>
                </a:lnTo>
                <a:lnTo>
                  <a:pt x="4322045" y="1303002"/>
                </a:lnTo>
                <a:lnTo>
                  <a:pt x="4333336" y="1439815"/>
                </a:lnTo>
                <a:lnTo>
                  <a:pt x="4342745" y="1574812"/>
                </a:lnTo>
                <a:lnTo>
                  <a:pt x="4350115" y="1709808"/>
                </a:lnTo>
                <a:lnTo>
                  <a:pt x="4357799" y="1844200"/>
                </a:lnTo>
                <a:lnTo>
                  <a:pt x="4364229" y="1977381"/>
                </a:lnTo>
                <a:lnTo>
                  <a:pt x="4368777" y="2109351"/>
                </a:lnTo>
                <a:lnTo>
                  <a:pt x="4372697" y="2241321"/>
                </a:lnTo>
                <a:lnTo>
                  <a:pt x="4376461" y="2372080"/>
                </a:lnTo>
                <a:lnTo>
                  <a:pt x="4378186" y="2501023"/>
                </a:lnTo>
                <a:lnTo>
                  <a:pt x="4380068" y="2629966"/>
                </a:lnTo>
                <a:lnTo>
                  <a:pt x="4381009" y="2757093"/>
                </a:lnTo>
                <a:lnTo>
                  <a:pt x="4380068" y="2883010"/>
                </a:lnTo>
                <a:lnTo>
                  <a:pt x="4380068" y="3007715"/>
                </a:lnTo>
                <a:lnTo>
                  <a:pt x="4378186" y="3131210"/>
                </a:lnTo>
                <a:lnTo>
                  <a:pt x="4375363" y="3252283"/>
                </a:lnTo>
                <a:lnTo>
                  <a:pt x="4372697" y="3372146"/>
                </a:lnTo>
                <a:lnTo>
                  <a:pt x="4369718" y="3489587"/>
                </a:lnTo>
                <a:lnTo>
                  <a:pt x="4365170" y="3606423"/>
                </a:lnTo>
                <a:lnTo>
                  <a:pt x="4360309" y="3721443"/>
                </a:lnTo>
                <a:lnTo>
                  <a:pt x="4355918" y="3834041"/>
                </a:lnTo>
                <a:lnTo>
                  <a:pt x="4343529" y="4053789"/>
                </a:lnTo>
                <a:lnTo>
                  <a:pt x="4330356" y="4264457"/>
                </a:lnTo>
                <a:lnTo>
                  <a:pt x="4316556" y="4466650"/>
                </a:lnTo>
                <a:lnTo>
                  <a:pt x="4301344" y="4657946"/>
                </a:lnTo>
                <a:lnTo>
                  <a:pt x="4285506" y="4840767"/>
                </a:lnTo>
                <a:lnTo>
                  <a:pt x="4268412" y="5010269"/>
                </a:lnTo>
                <a:lnTo>
                  <a:pt x="4251633" y="5169481"/>
                </a:lnTo>
                <a:lnTo>
                  <a:pt x="4234853" y="5315980"/>
                </a:lnTo>
                <a:lnTo>
                  <a:pt x="4219014" y="5450371"/>
                </a:lnTo>
                <a:lnTo>
                  <a:pt x="4203959" y="5569628"/>
                </a:lnTo>
                <a:lnTo>
                  <a:pt x="4189689" y="5677384"/>
                </a:lnTo>
                <a:lnTo>
                  <a:pt x="4177770" y="5768189"/>
                </a:lnTo>
                <a:lnTo>
                  <a:pt x="4166479" y="5844465"/>
                </a:lnTo>
                <a:lnTo>
                  <a:pt x="4159132" y="5892104"/>
                </a:lnTo>
                <a:lnTo>
                  <a:pt x="0" y="5892104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31CBA7-24F7-4003-A955-A8706390B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029" y="1012004"/>
            <a:ext cx="3416158" cy="4795408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Goals Model Applic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1000F1-FB73-4FB1-8F06-9291DB798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26220" y="6356350"/>
            <a:ext cx="62758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spcAft>
                  <a:spcPts val="600"/>
                </a:spcAft>
              </a:pPr>
              <a:t>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5960935C-8560-42B7-B44B-051BB81CA5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3225899"/>
              </p:ext>
            </p:extLst>
          </p:nvPr>
        </p:nvGraphicFramePr>
        <p:xfrm>
          <a:off x="5194300" y="470924"/>
          <a:ext cx="6513604" cy="5885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90616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A7A6EF-8FC9-4071-8EF2-9F1F699B7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en-US" dirty="0">
                <a:solidFill>
                  <a:schemeClr val="accent1"/>
                </a:solidFill>
              </a:rPr>
              <a:t>Key Questions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D36DFB-276F-4178-BB13-9CDB82820B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6031" y="963877"/>
            <a:ext cx="6377769" cy="4930246"/>
          </a:xfrm>
        </p:spPr>
        <p:txBody>
          <a:bodyPr anchor="ctr">
            <a:normAutofit/>
          </a:bodyPr>
          <a:lstStyle/>
          <a:p>
            <a:r>
              <a:rPr lang="en-US" sz="2400"/>
              <a:t>What is required to end AIDS as a public health threat by 2030?</a:t>
            </a:r>
          </a:p>
          <a:p>
            <a:pPr lvl="1"/>
            <a:r>
              <a:rPr lang="en-US" dirty="0"/>
              <a:t>90% reduction in new infections from 2010-2030</a:t>
            </a:r>
          </a:p>
          <a:p>
            <a:pPr lvl="1"/>
            <a:r>
              <a:rPr lang="en-US" dirty="0"/>
              <a:t>90% reduction in AIDS deaths from 2010-2030</a:t>
            </a:r>
          </a:p>
          <a:p>
            <a:pPr lvl="1"/>
            <a:r>
              <a:rPr lang="en-US" dirty="0"/>
              <a:t>Elimination of discrimination</a:t>
            </a:r>
          </a:p>
          <a:p>
            <a:pPr lvl="1"/>
            <a:endParaRPr lang="en-US" dirty="0"/>
          </a:p>
          <a:p>
            <a:r>
              <a:rPr lang="en-US" sz="2400"/>
              <a:t>What combination of interventions will allow us to reach the goals and how much will it cos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1DAC2E-27A4-4841-97A4-22419D24B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71516" y="6033479"/>
            <a:ext cx="782283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48F63A3B-78C7-47BE-AE5E-E10140E04643}" type="slidenum">
              <a:rPr lang="en-US" sz="1050">
                <a:solidFill>
                  <a:schemeClr val="tx1">
                    <a:alpha val="80000"/>
                  </a:schemeClr>
                </a:solidFill>
              </a:rPr>
              <a:pPr>
                <a:spcAft>
                  <a:spcPts val="600"/>
                </a:spcAft>
              </a:pPr>
              <a:t>2</a:t>
            </a:fld>
            <a:endParaRPr lang="en-US" sz="1050">
              <a:solidFill>
                <a:schemeClr val="tx1">
                  <a:alpha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1708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8288B3-8006-4DDA-A2F2-C819A7CA3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85303"/>
          </a:xfrm>
        </p:spPr>
        <p:txBody>
          <a:bodyPr/>
          <a:lstStyle/>
          <a:p>
            <a:r>
              <a:rPr lang="en-US" dirty="0"/>
              <a:t>HIV Disease Dynamics Model Structure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84EDF96-B5BD-4E4C-BBD6-4FD6D641153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57661365"/>
              </p:ext>
            </p:extLst>
          </p:nvPr>
        </p:nvGraphicFramePr>
        <p:xfrm>
          <a:off x="609599" y="1450428"/>
          <a:ext cx="11014841" cy="4726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06F93F-51F6-43AD-A44C-BE0E22AA3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046058-7BB3-4BC7-9836-7F4BD45CEACE}"/>
              </a:ext>
            </a:extLst>
          </p:cNvPr>
          <p:cNvSpPr txBox="1"/>
          <p:nvPr/>
        </p:nvSpPr>
        <p:spPr>
          <a:xfrm>
            <a:off x="1492468" y="4687614"/>
            <a:ext cx="9648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        </a:t>
            </a:r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evention                          Testing                               Linkage                        Adherence  </a:t>
            </a:r>
          </a:p>
        </p:txBody>
      </p:sp>
    </p:spTree>
    <p:extLst>
      <p:ext uri="{BB962C8B-B14F-4D97-AF65-F5344CB8AC3E}">
        <p14:creationId xmlns:p14="http://schemas.microsoft.com/office/powerpoint/2010/main" val="14963321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86637" y="185573"/>
            <a:ext cx="10515600" cy="841540"/>
          </a:xfrm>
        </p:spPr>
        <p:txBody>
          <a:bodyPr/>
          <a:lstStyle/>
          <a:p>
            <a:r>
              <a:rPr lang="en-US" dirty="0"/>
              <a:t>Methods: Impact Estimated with Goals Mod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>
          <a:xfrm>
            <a:off x="837307" y="1035844"/>
            <a:ext cx="4198646" cy="4351337"/>
          </a:xfrm>
        </p:spPr>
        <p:txBody>
          <a:bodyPr>
            <a:normAutofit/>
          </a:bodyPr>
          <a:lstStyle/>
          <a:p>
            <a:r>
              <a:rPr lang="en-US" sz="2400" dirty="0"/>
              <a:t>Goals model in Spectrum applied to 100 countries </a:t>
            </a:r>
          </a:p>
          <a:p>
            <a:r>
              <a:rPr lang="en-US" sz="2400" dirty="0"/>
              <a:t>Results scaled-up to all 120 low and middle income countrie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75"/>
          <a:stretch>
            <a:fillRect/>
          </a:stretch>
        </p:blipFill>
        <p:spPr>
          <a:xfrm>
            <a:off x="805431" y="2978929"/>
            <a:ext cx="3972946" cy="3150022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4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4948381" y="1828800"/>
            <a:ext cx="6882791" cy="4217988"/>
            <a:chOff x="838200" y="2261337"/>
            <a:chExt cx="6882791" cy="4217988"/>
          </a:xfrm>
        </p:grpSpPr>
        <p:sp>
          <p:nvSpPr>
            <p:cNvPr id="1088" name="Freeform 1087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992509" y="3175736"/>
              <a:ext cx="1329196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9" name="Freeform 1088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794610" y="4726724"/>
              <a:ext cx="326952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90" name="Freeform 1089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083367" y="5290286"/>
              <a:ext cx="252088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91" name="Freeform 1090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91698" y="4572737"/>
              <a:ext cx="93043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092" name="Freeform 1091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025214" y="3518637"/>
              <a:ext cx="67224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93" name="Freeform 1092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542425" y="3393225"/>
              <a:ext cx="79446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94" name="Freeform 1093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620344" y="2878875"/>
              <a:ext cx="165004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5" name="Freeform 1094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965630" y="3182086"/>
              <a:ext cx="163475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96" name="Freeform 1095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401772" y="3031275"/>
              <a:ext cx="1232943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7" name="Freeform 1096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142856" y="2572486"/>
              <a:ext cx="212365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98" name="Freeform 1097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889239" y="2990000"/>
              <a:ext cx="175698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99" name="Freeform 1098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913685" y="3247175"/>
              <a:ext cx="241394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00" name="Freeform 1099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930489" y="3415449"/>
              <a:ext cx="32085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01" name="Group 1100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162624" y="4475900"/>
              <a:ext cx="455288" cy="212725"/>
              <a:chOff x="4488" y="2394"/>
              <a:chExt cx="358" cy="124"/>
            </a:xfrm>
          </p:grpSpPr>
          <p:sp>
            <p:nvSpPr>
              <p:cNvPr id="1102" name="Freeform 1101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03" name="Freeform 1102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04" name="Freeform 1103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258969" y="2351825"/>
              <a:ext cx="2950204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105" name="Freeform 1104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550066" y="3339249"/>
              <a:ext cx="270422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06" name="Freeform 1105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83176" y="4077437"/>
              <a:ext cx="200143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7" name="Line 26" descr="Horizontal dunkel"/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auto">
            <a:xfrm>
              <a:off x="858062" y="3386875"/>
              <a:ext cx="3056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8" name="Freeform 1107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861118" y="3383699"/>
              <a:ext cx="3056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9" name="Freeform 1108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838200" y="3437674"/>
              <a:ext cx="22918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0" name="Freeform 1109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2113922" y="3432911"/>
              <a:ext cx="4736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1" name="Freeform 1110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4749397" y="2990000"/>
              <a:ext cx="841825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2" name="Freeform 1111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4970931" y="3293211"/>
              <a:ext cx="3941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3" name="Freeform 1112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3544" y="4296512"/>
              <a:ext cx="285701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4" name="Freeform 1113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634811" y="4161574"/>
              <a:ext cx="14667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5" name="Freeform 1114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116883" y="3166211"/>
              <a:ext cx="120698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16" name="Freeform 1115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948012" y="3886936"/>
              <a:ext cx="18334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7" name="Freeform 1116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062599" y="3891699"/>
              <a:ext cx="13750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8" name="Freeform 1117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6494157" y="4552099"/>
              <a:ext cx="42779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19" name="Group 1118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2501987" y="6360262"/>
              <a:ext cx="62640" cy="55563"/>
              <a:chOff x="1654" y="3671"/>
              <a:chExt cx="49" cy="17"/>
            </a:xfrm>
          </p:grpSpPr>
          <p:sp>
            <p:nvSpPr>
              <p:cNvPr id="1120" name="Freeform 111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21" name="Freeform 112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22" name="Freeform 1121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162812" y="4155225"/>
              <a:ext cx="30556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3" name="Freeform 1122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2216285" y="4161575"/>
              <a:ext cx="152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4" name="Freeform 1123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2228507" y="4163161"/>
              <a:ext cx="6111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5" name="Freeform 1124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242259" y="4153636"/>
              <a:ext cx="7639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6" name="Freeform 1125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222397" y="4145700"/>
              <a:ext cx="10695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7" name="Freeform 1126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269760" y="4174275"/>
              <a:ext cx="13750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8" name="Line 47"/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auto">
            <a:xfrm flipH="1" flipV="1">
              <a:off x="2277397" y="4171100"/>
              <a:ext cx="6111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9" name="Line 48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auto">
            <a:xfrm flipH="1">
              <a:off x="2277397" y="4196499"/>
              <a:ext cx="6111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30" name="Freeform 1129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277398" y="4191736"/>
              <a:ext cx="10695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1" name="Freeform 1130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283510" y="4220312"/>
              <a:ext cx="16806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2" name="Freeform 113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289621" y="4267936"/>
              <a:ext cx="15278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3" name="Freeform 113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298788" y="4293336"/>
              <a:ext cx="3056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4" name="Freeform 1133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320176" y="4323499"/>
              <a:ext cx="152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5" name="Freeform 1134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283510" y="4336200"/>
              <a:ext cx="15278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6" name="Freeform 1135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269759" y="4401286"/>
              <a:ext cx="22917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7" name="Freeform 1136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288093" y="4377474"/>
              <a:ext cx="12222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8" name="Freeform 1137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1790027" y="4048861"/>
              <a:ext cx="15278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39" name="Group 1138"/>
            <p:cNvGrpSpPr>
              <a:grpSpLocks/>
            </p:cNvGrpSpPr>
            <p:nvPr>
              <p:custDataLst>
                <p:tags r:id="rId48"/>
              </p:custDataLst>
            </p:nvPr>
          </p:nvGrpSpPr>
          <p:grpSpPr bwMode="auto">
            <a:xfrm>
              <a:off x="1910724" y="3882174"/>
              <a:ext cx="126809" cy="195262"/>
              <a:chOff x="1199" y="2121"/>
              <a:chExt cx="97" cy="123"/>
            </a:xfrm>
          </p:grpSpPr>
          <p:sp>
            <p:nvSpPr>
              <p:cNvPr id="1140" name="Freeform 113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1" name="Freeform 114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2" name="Freeform 114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3" name="Freeform 114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4" name="Freeform 114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5" name="Freeform 114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6" name="Freeform 114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7" name="Freeform 114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8" name="Freeform 114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49" name="Freeform 114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50" name="Freeform 1149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7505568" y="5309336"/>
              <a:ext cx="12222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1" name="Freeform 1150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7514736" y="5399825"/>
              <a:ext cx="9167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2" name="Freeform 1151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7624738" y="5309337"/>
              <a:ext cx="74863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3" name="Freeform 1152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624738" y="5282349"/>
              <a:ext cx="13751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4" name="Freeform 1153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6983058" y="4460024"/>
              <a:ext cx="9167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5" name="Freeform 1154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682795" y="5361724"/>
              <a:ext cx="13751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6" name="Freeform 1155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7704185" y="5371250"/>
              <a:ext cx="16806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7" name="Freeform 1156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044169" y="4448912"/>
              <a:ext cx="152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8" name="Freeform 115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100699" y="4393349"/>
              <a:ext cx="6111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9" name="Freeform 115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7209174" y="4282224"/>
              <a:ext cx="4584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0" name="Freeform 115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355843" y="4980725"/>
              <a:ext cx="25973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1" name="Freeform 116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16955" y="4995011"/>
              <a:ext cx="12222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2" name="Freeform 116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279452" y="4771174"/>
              <a:ext cx="24445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3" name="Freeform 116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224452" y="4745774"/>
              <a:ext cx="10695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4" name="Freeform 116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416955" y="5077561"/>
              <a:ext cx="30556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5" name="Freeform 116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374178" y="5066449"/>
              <a:ext cx="21389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6" name="Line 89"/>
            <p:cNvSpPr>
              <a:spLocks noChangeShapeType="1"/>
            </p:cNvSpPr>
            <p:nvPr>
              <p:custDataLst>
                <p:tags r:id="rId65"/>
              </p:custDataLst>
            </p:nvPr>
          </p:nvSpPr>
          <p:spPr bwMode="auto">
            <a:xfrm>
              <a:off x="7406262" y="5052161"/>
              <a:ext cx="19861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67" name="Freeform 116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426122" y="5058511"/>
              <a:ext cx="152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8" name="Freeform 116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381817" y="5052161"/>
              <a:ext cx="13750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9" name="Freeform 116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375705" y="5033112"/>
              <a:ext cx="6111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70" name="Freeform 1169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7453623" y="4760061"/>
              <a:ext cx="152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71" name="Group 1170"/>
            <p:cNvGrpSpPr>
              <a:grpSpLocks/>
            </p:cNvGrpSpPr>
            <p:nvPr>
              <p:custDataLst>
                <p:tags r:id="rId70"/>
              </p:custDataLst>
            </p:nvPr>
          </p:nvGrpSpPr>
          <p:grpSpPr bwMode="auto">
            <a:xfrm>
              <a:off x="7332926" y="4431449"/>
              <a:ext cx="157364" cy="114300"/>
              <a:chOff x="5379" y="2466"/>
              <a:chExt cx="122" cy="71"/>
            </a:xfrm>
          </p:grpSpPr>
          <p:sp>
            <p:nvSpPr>
              <p:cNvPr id="1172" name="Freeform 1171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3" name="Freeform 1172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4" name="Freeform 1173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5" name="Freeform 1174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6" name="Freeform 1175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7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8" name="Freeform 1177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9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80" name="Freeform 1179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181" name="Freeform 1180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5970118" y="4293336"/>
              <a:ext cx="6111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2" name="Freeform 1181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5201630" y="6271362"/>
              <a:ext cx="29029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3" name="Freeform 1182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274870" y="3042386"/>
              <a:ext cx="19861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4" name="Freeform 1183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7444457" y="3075724"/>
              <a:ext cx="15278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5" name="Freeform 118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914306" y="3305911"/>
              <a:ext cx="4583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6" name="Freeform 118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6735551" y="3867886"/>
              <a:ext cx="13751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7" name="Freeform 118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6752359" y="3802799"/>
              <a:ext cx="15278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8" name="Freeform 118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6645412" y="3651987"/>
              <a:ext cx="152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9" name="Freeform 118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3615761" y="2778861"/>
              <a:ext cx="9167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0" name="Freeform 118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3602011" y="2547086"/>
              <a:ext cx="3056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1" name="Freeform 119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5027458" y="4325087"/>
              <a:ext cx="24445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2" name="Freeform 119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4741758" y="4186975"/>
              <a:ext cx="18334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93" name="Group 1192"/>
            <p:cNvGrpSpPr>
              <a:grpSpLocks/>
            </p:cNvGrpSpPr>
            <p:nvPr>
              <p:custDataLst>
                <p:tags r:id="rId83"/>
              </p:custDataLst>
            </p:nvPr>
          </p:nvGrpSpPr>
          <p:grpSpPr bwMode="auto">
            <a:xfrm>
              <a:off x="5484275" y="4374299"/>
              <a:ext cx="44306" cy="374650"/>
              <a:chOff x="3950" y="2430"/>
              <a:chExt cx="36" cy="234"/>
            </a:xfrm>
          </p:grpSpPr>
          <p:sp>
            <p:nvSpPr>
              <p:cNvPr id="1194" name="Freeform 119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5" name="Freeform 119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6" name="Freeform 119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7" name="Rectangle 119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8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9" name="Freeform 119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0" name="Freeform 119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1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2" name="Freeform 120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3" name="Freeform 120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4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5" name="Freeform 120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6" name="Freeform 120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7" name="Freeform 120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8" name="Freeform 120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9" name="Freeform 120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0" name="Freeform 120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1" name="Freeform 121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2" name="Rectangle 121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3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4" name="Freeform 121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5" name="Freeform 121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6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7" name="Freeform 121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8" name="Freeform 121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9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0" name="Freeform 121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1" name="Freeform 122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2" name="Freeform 122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3" name="Freeform 122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4" name="Freeform 1223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225" name="Group 1224"/>
            <p:cNvGrpSpPr>
              <a:grpSpLocks/>
            </p:cNvGrpSpPr>
            <p:nvPr>
              <p:custDataLst>
                <p:tags r:id="rId84"/>
              </p:custDataLst>
            </p:nvPr>
          </p:nvGrpSpPr>
          <p:grpSpPr bwMode="auto">
            <a:xfrm>
              <a:off x="7471957" y="4874362"/>
              <a:ext cx="178754" cy="214313"/>
              <a:chOff x="5486" y="2743"/>
              <a:chExt cx="137" cy="132"/>
            </a:xfrm>
          </p:grpSpPr>
          <p:sp>
            <p:nvSpPr>
              <p:cNvPr id="1226" name="Freeform 1225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7" name="Freeform 1226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8" name="Freeform 1227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9" name="Freeform 1228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0" name="Freeform 1229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1" name="Freeform 1230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2" name="Freeform 1231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3" name="Freeform 1232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4" name="Freeform 1233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35" name="Freeform 123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954935" y="4612424"/>
              <a:ext cx="10695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6" name="Freeform 123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881600" y="4752124"/>
              <a:ext cx="13751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7" name="Freeform 123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612610" y="3078900"/>
              <a:ext cx="701265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8" name="Freeform 1237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2077255" y="5045812"/>
              <a:ext cx="316257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39" name="Freeform 1238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2283510" y="4475899"/>
              <a:ext cx="114586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240" name="Group 1239"/>
            <p:cNvGrpSpPr>
              <a:grpSpLocks/>
            </p:cNvGrpSpPr>
            <p:nvPr>
              <p:custDataLst>
                <p:tags r:id="rId90"/>
              </p:custDataLst>
            </p:nvPr>
          </p:nvGrpSpPr>
          <p:grpSpPr bwMode="auto">
            <a:xfrm>
              <a:off x="2008503" y="4310800"/>
              <a:ext cx="311674" cy="401637"/>
              <a:chOff x="1486" y="2412"/>
              <a:chExt cx="244" cy="256"/>
            </a:xfrm>
          </p:grpSpPr>
          <p:sp>
            <p:nvSpPr>
              <p:cNvPr id="1241" name="Freeform 1240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2" name="Freeform 1241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3" name="Freeform 1242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4" name="Freeform 1243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45" name="Freeform 1244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6840971" y="5850674"/>
              <a:ext cx="30556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6" name="Freeform 1245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6952501" y="5984024"/>
              <a:ext cx="152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7" name="Line 171"/>
            <p:cNvSpPr>
              <a:spLocks noChangeShapeType="1"/>
            </p:cNvSpPr>
            <p:nvPr>
              <p:custDataLst>
                <p:tags r:id="rId93"/>
              </p:custDataLst>
            </p:nvPr>
          </p:nvSpPr>
          <p:spPr bwMode="auto">
            <a:xfrm flipV="1">
              <a:off x="7039587" y="5982436"/>
              <a:ext cx="152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48" name="Freeform 1247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7039587" y="5982437"/>
              <a:ext cx="3056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9" name="Freeform 1248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7326816" y="5452212"/>
              <a:ext cx="21389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0" name="Freeform 124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332927" y="5379186"/>
              <a:ext cx="25972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1" name="Freeform 125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10010" y="5355374"/>
              <a:ext cx="16806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2" name="Freeform 1251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7232091" y="5233137"/>
              <a:ext cx="65695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3" name="Line 177"/>
            <p:cNvSpPr>
              <a:spLocks noChangeShapeType="1"/>
            </p:cNvSpPr>
            <p:nvPr>
              <p:custDataLst>
                <p:tags r:id="rId99"/>
              </p:custDataLst>
            </p:nvPr>
          </p:nvSpPr>
          <p:spPr bwMode="auto">
            <a:xfrm flipH="1" flipV="1">
              <a:off x="7225979" y="5199800"/>
              <a:ext cx="6111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54" name="Freeform 125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225979" y="5183925"/>
              <a:ext cx="6111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5" name="Line 179"/>
            <p:cNvSpPr>
              <a:spLocks noChangeShapeType="1"/>
            </p:cNvSpPr>
            <p:nvPr>
              <p:custDataLst>
                <p:tags r:id="rId101"/>
              </p:custDataLst>
            </p:nvPr>
          </p:nvSpPr>
          <p:spPr bwMode="auto">
            <a:xfrm flipV="1">
              <a:off x="7232091" y="5171224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56" name="Freeform 125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187784" y="5104550"/>
              <a:ext cx="44307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7" name="Freeform 125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201535" y="5047399"/>
              <a:ext cx="152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8" name="Freeform 1257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7207647" y="5041049"/>
              <a:ext cx="7639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9" name="Freeform 125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222925" y="5022000"/>
              <a:ext cx="152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0" name="Line 184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222925" y="5041050"/>
              <a:ext cx="152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61" name="Freeform 126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207647" y="5025175"/>
              <a:ext cx="152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2" name="Freeform 126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6938752" y="6014187"/>
              <a:ext cx="93196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3" name="Freeform 126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071671" y="5233137"/>
              <a:ext cx="3056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4" name="Freeform 126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007503" y="5155350"/>
              <a:ext cx="15278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5" name="Freeform 1264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7022781" y="5068037"/>
              <a:ext cx="3056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6" name="Freeform 126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6868472" y="5071212"/>
              <a:ext cx="35139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7" name="Freeform 126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103755" y="5534761"/>
              <a:ext cx="152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8" name="Freeform 126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6368878" y="5041049"/>
              <a:ext cx="98085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9" name="Freeform 126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1062789" y="3707550"/>
              <a:ext cx="643208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70" name="Freeform 126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2289620" y="5347437"/>
              <a:ext cx="203199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71" name="Freeform 127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2453097" y="4552100"/>
              <a:ext cx="70279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72" name="Freeform 127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1985586" y="4110775"/>
              <a:ext cx="67224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3" name="Freeform 127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2275870" y="6417412"/>
              <a:ext cx="24445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4" name="Freeform 127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251426" y="6407886"/>
              <a:ext cx="27501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5" name="Freeform 127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228507" y="6395186"/>
              <a:ext cx="32085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6" name="Freeform 127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222397" y="6376136"/>
              <a:ext cx="29029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7" name="Freeform 127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26145" y="6066575"/>
              <a:ext cx="24445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8" name="Freeform 127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155173" y="6161825"/>
              <a:ext cx="16806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9" name="Freeform 127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159757" y="6184050"/>
              <a:ext cx="7639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0" name="Freeform 127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173507" y="6245962"/>
              <a:ext cx="16806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1" name="Freeform 128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161284" y="6258661"/>
              <a:ext cx="25973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2" name="Freeform 128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190313" y="6292000"/>
              <a:ext cx="10694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3" name="Freeform 128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187258" y="6325337"/>
              <a:ext cx="19861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4" name="Freeform 128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210175" y="6339624"/>
              <a:ext cx="16806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5" name="Freeform 128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211702" y="6368199"/>
              <a:ext cx="6111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6" name="Freeform 128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20177" y="6379312"/>
              <a:ext cx="119169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7" name="Freeform 128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1889333" y="4145700"/>
              <a:ext cx="5041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8" name="Freeform 128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1751831" y="4007586"/>
              <a:ext cx="241394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9" name="Freeform 128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045170" y="4110774"/>
              <a:ext cx="85557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0" name="Freeform 128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1629605" y="4171100"/>
              <a:ext cx="32085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91" name="Freeform 129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1553216" y="4171099"/>
              <a:ext cx="90141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92" name="Freeform 129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1599049" y="4282224"/>
              <a:ext cx="68752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93" name="Freeform 129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1629606" y="4244124"/>
              <a:ext cx="137503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94" name="Freeform 129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1646412" y="4274286"/>
              <a:ext cx="120697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95" name="Freeform 129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1695303" y="4386999"/>
              <a:ext cx="80974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96" name="Freeform 129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1773221" y="4440975"/>
              <a:ext cx="137503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297" name="Freeform 129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428651" y="5695100"/>
              <a:ext cx="128336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98" name="Freeform 129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916741" y="2312137"/>
              <a:ext cx="227643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99" name="Freeform 129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846460" y="2542324"/>
              <a:ext cx="432370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00" name="Freeform 129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4173412" y="3383700"/>
              <a:ext cx="4736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1" name="Freeform 130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892296" y="3223361"/>
              <a:ext cx="80974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02" name="Freeform 130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832710" y="3042387"/>
              <a:ext cx="80974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03" name="Freeform 130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814376" y="3105886"/>
              <a:ext cx="80974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04" name="Freeform 130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4546199" y="3659924"/>
              <a:ext cx="32084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5" name="Freeform 130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4497308" y="3712312"/>
              <a:ext cx="67224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6" name="Freeform 130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3536314" y="2966187"/>
              <a:ext cx="93197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07" name="Freeform 130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3356032" y="3877412"/>
              <a:ext cx="29486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8" name="Freeform 130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3467564" y="3937737"/>
              <a:ext cx="398758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9" name="Freeform 130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3562287" y="3544036"/>
              <a:ext cx="475149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0" name="Freeform 130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3982436" y="3678974"/>
              <a:ext cx="369730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1" name="Freeform 131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3936602" y="3544036"/>
              <a:ext cx="90141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2" name="Freeform 131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3342283" y="3855186"/>
              <a:ext cx="223060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3" name="Freeform 131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311726" y="2662974"/>
              <a:ext cx="183337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4" name="Freeform 131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074104" y="2926499"/>
              <a:ext cx="13751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15" name="Freeform 131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965630" y="2589950"/>
              <a:ext cx="226116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16" name="Freeform 131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4098549" y="2904274"/>
              <a:ext cx="25973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17" name="Freeform 131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563816" y="3066199"/>
              <a:ext cx="27501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18" name="Freeform 131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4480502" y="3594836"/>
              <a:ext cx="4889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9" name="Freeform 131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103134" y="4387000"/>
              <a:ext cx="313201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0" name="Freeform 131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042020" y="4555274"/>
              <a:ext cx="481260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1" name="Freeform 132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980908" y="4655287"/>
              <a:ext cx="53473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2" name="Freeform 132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964101" y="4655287"/>
              <a:ext cx="14667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3" name="Freeform 132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477446" y="5060099"/>
              <a:ext cx="250561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4" name="Freeform 132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2303" y="5299811"/>
              <a:ext cx="229172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5" name="Freeform 132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773841" y="5101375"/>
              <a:ext cx="189449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6" name="Freeform 132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462169" y="4799750"/>
              <a:ext cx="35140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7" name="Freeform 132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451474" y="4760062"/>
              <a:ext cx="53473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8" name="Freeform 132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749396" y="3459900"/>
              <a:ext cx="484317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9" name="Freeform 132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772314" y="4117124"/>
              <a:ext cx="238339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0" name="Freeform 132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960234" y="3891699"/>
              <a:ext cx="116114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" name="Freeform 133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659256" y="3544037"/>
              <a:ext cx="213894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2" name="Freeform 133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5140516" y="3504349"/>
              <a:ext cx="319313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3" name="Freeform 133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5171073" y="3553562"/>
              <a:ext cx="351397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4" name="Freeform 133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931924" y="3821850"/>
              <a:ext cx="212366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5" name="Freeform 133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356033" y="4331436"/>
              <a:ext cx="77919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6" name="Freeform 133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3437007" y="4413987"/>
              <a:ext cx="71807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7" name="Freeform 133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3478258" y="4464787"/>
              <a:ext cx="100836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8" name="Freeform 133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3684513" y="4383824"/>
              <a:ext cx="100836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9" name="Freeform 133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3349922" y="4299686"/>
              <a:ext cx="84030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0" name="Freeform 133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3759376" y="4377475"/>
              <a:ext cx="41251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1" name="Freeform 134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3783820" y="4339374"/>
              <a:ext cx="73335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2" name="Freeform 134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4485086" y="5544287"/>
              <a:ext cx="24445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3" name="Freeform 134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4384250" y="5641124"/>
              <a:ext cx="59584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4" name="Freeform 134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6518602" y="3355124"/>
              <a:ext cx="116114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5" name="Freeform 134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624834" y="3769462"/>
              <a:ext cx="19861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6" name="Freeform 134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832616" y="3825025"/>
              <a:ext cx="70279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7" name="Freeform 134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823448" y="3896461"/>
              <a:ext cx="128336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8" name="Freeform 134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6129011" y="4012350"/>
              <a:ext cx="19403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9" name="Freeform 134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6208457" y="4263175"/>
              <a:ext cx="128336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0" name="Freeform 134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6594994" y="3499587"/>
              <a:ext cx="82502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1" name="Freeform 135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7141950" y="4796574"/>
              <a:ext cx="223060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2" name="Freeform 135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7326815" y="4780700"/>
              <a:ext cx="102363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3" name="Freeform 135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5667612" y="4413987"/>
              <a:ext cx="61112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354" name="Group 1353"/>
            <p:cNvGrpSpPr>
              <a:grpSpLocks/>
            </p:cNvGrpSpPr>
            <p:nvPr>
              <p:custDataLst>
                <p:tags r:id="rId200"/>
              </p:custDataLst>
            </p:nvPr>
          </p:nvGrpSpPr>
          <p:grpSpPr bwMode="auto">
            <a:xfrm>
              <a:off x="6572076" y="4125061"/>
              <a:ext cx="224588" cy="439738"/>
              <a:chOff x="5062" y="2295"/>
              <a:chExt cx="177" cy="279"/>
            </a:xfrm>
          </p:grpSpPr>
          <p:sp>
            <p:nvSpPr>
              <p:cNvPr id="1355" name="Freeform 1354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6" name="Freeform 1355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7" name="Freeform 1356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8" name="Freeform 1357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59" name="Freeform 1358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0" name="Freeform 1359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1" name="Freeform 1360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2" name="Freeform 1361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3" name="Freeform 1362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4" name="Freeform 1363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5" name="Freeform 1364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6" name="Freeform 1365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7" name="Freeform 1366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8" name="Freeform 1367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69" name="Freeform 1368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1" name="Freeform 1370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3" name="Freeform 1372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4" name="Freeform 1373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5" name="Freeform 1374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6" name="Freeform 1375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7" name="Freeform 1376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7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379" name="Freeform 1378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903611" y="4944212"/>
              <a:ext cx="13751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0" name="Freeform 1379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976947" y="4883886"/>
              <a:ext cx="21389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1" name="Freeform 1380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022781" y="4763236"/>
              <a:ext cx="22918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2" name="Freeform 1381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7007502" y="4733074"/>
              <a:ext cx="24445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3" name="Freeform 1382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839443" y="4629886"/>
              <a:ext cx="7640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4" name="Freeform 1383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6769164" y="4764825"/>
              <a:ext cx="29029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85" name="Freeform 1384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6776803" y="4950562"/>
              <a:ext cx="18334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6" name="Freeform 1385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885278" y="4769586"/>
              <a:ext cx="10695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7" name="Freeform 1386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6750830" y="4764825"/>
              <a:ext cx="18334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8" name="Freeform 138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6793609" y="4812449"/>
              <a:ext cx="29029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89" name="Freeform 138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6602633" y="5015650"/>
              <a:ext cx="44306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90" name="Freeform 138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6697358" y="5053750"/>
              <a:ext cx="13750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91" name="Freeform 139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6536937" y="4985487"/>
              <a:ext cx="35140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92" name="Freeform 139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6579715" y="4971199"/>
              <a:ext cx="38196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93" name="Freeform 139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6630133" y="4980725"/>
              <a:ext cx="35139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94" name="Freeform 139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6680550" y="4985487"/>
              <a:ext cx="24445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395" name="Freeform 139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6750830" y="4977549"/>
              <a:ext cx="152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96" name="Freeform 139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6341376" y="4791811"/>
              <a:ext cx="19862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97" name="Freeform 139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289431" y="4764825"/>
              <a:ext cx="29029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98" name="Freeform 139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130538" y="4748949"/>
              <a:ext cx="7640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99" name="Line 327" descr="Horizontal dunkel"/>
            <p:cNvSpPr>
              <a:spLocks noChangeShapeType="1"/>
            </p:cNvSpPr>
            <p:nvPr>
              <p:custDataLst>
                <p:tags r:id="rId221"/>
              </p:custDataLst>
            </p:nvPr>
          </p:nvSpPr>
          <p:spPr bwMode="auto">
            <a:xfrm>
              <a:off x="6154984" y="4785461"/>
              <a:ext cx="4584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00" name="Freeform 139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151927" y="4785461"/>
              <a:ext cx="7640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01" name="Freeform 140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057204" y="4629886"/>
              <a:ext cx="21389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02" name="Freeform 140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565965" y="4993424"/>
              <a:ext cx="10694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03" name="Freeform 140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62504" y="4950562"/>
              <a:ext cx="27501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04" name="Freeform 140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6040399" y="4533049"/>
              <a:ext cx="264311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05" name="Freeform 140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368877" y="4582262"/>
              <a:ext cx="24445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06" name="Freeform 140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711107" y="4988661"/>
              <a:ext cx="88613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07" name="Freeform 140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822637" y="4655286"/>
              <a:ext cx="41250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08" name="Freeform 1407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6834861" y="4799749"/>
              <a:ext cx="68751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09" name="Freeform 140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908196" y="4723549"/>
              <a:ext cx="82502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10" name="Freeform 140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608745" y="4661636"/>
              <a:ext cx="160420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11" name="Freeform 141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286376" y="4902936"/>
              <a:ext cx="241394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12" name="Freeform 141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941806" y="4760062"/>
              <a:ext cx="206254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13" name="Freeform 141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5528581" y="3591662"/>
              <a:ext cx="51946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4" name="Freeform 141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4043548" y="2996349"/>
              <a:ext cx="212366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15" name="Freeform 141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4104660" y="3201136"/>
              <a:ext cx="140559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16" name="Freeform 141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4200914" y="2856650"/>
              <a:ext cx="106947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17" name="Freeform 141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4213136" y="3204312"/>
              <a:ext cx="172642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18" name="Freeform 141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2288094" y="4242537"/>
              <a:ext cx="13750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9" name="Freeform 141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4313972" y="3196375"/>
              <a:ext cx="82502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0" name="Freeform 141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4234524" y="3078899"/>
              <a:ext cx="366675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21" name="Freeform 142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4726481" y="3421799"/>
              <a:ext cx="45834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2" name="Freeform 142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248991" y="3436086"/>
              <a:ext cx="200143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3" name="Freeform 142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296354" y="3364649"/>
              <a:ext cx="216949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4" name="Freeform 142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917456" y="3380524"/>
              <a:ext cx="330007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5" name="Freeform 142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156606" y="3267812"/>
              <a:ext cx="103891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26" name="Freeform 142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202441" y="3375762"/>
              <a:ext cx="65696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27" name="Freeform 142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283414" y="3999650"/>
              <a:ext cx="395703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8" name="Freeform 142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749397" y="4339374"/>
              <a:ext cx="235283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9" name="Freeform 142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757036" y="4326675"/>
              <a:ext cx="36667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0" name="Freeform 142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4563003" y="4237775"/>
              <a:ext cx="349869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1" name="Line 359"/>
            <p:cNvSpPr>
              <a:spLocks noChangeShapeType="1"/>
            </p:cNvSpPr>
            <p:nvPr>
              <p:custDataLst>
                <p:tags r:id="rId253"/>
              </p:custDataLst>
            </p:nvPr>
          </p:nvSpPr>
          <p:spPr bwMode="auto">
            <a:xfrm flipH="1">
              <a:off x="1540993" y="4756886"/>
              <a:ext cx="4584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2" name="Freeform 143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1540992" y="4764825"/>
              <a:ext cx="12222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3" name="Freeform 143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1548632" y="4752124"/>
              <a:ext cx="4583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434" name="Group 1433"/>
            <p:cNvGrpSpPr>
              <a:grpSpLocks/>
            </p:cNvGrpSpPr>
            <p:nvPr>
              <p:custDataLst>
                <p:tags r:id="rId256"/>
              </p:custDataLst>
            </p:nvPr>
          </p:nvGrpSpPr>
          <p:grpSpPr bwMode="auto">
            <a:xfrm>
              <a:off x="1540993" y="4687037"/>
              <a:ext cx="401815" cy="201613"/>
              <a:chOff x="912" y="2626"/>
              <a:chExt cx="311" cy="127"/>
            </a:xfrm>
          </p:grpSpPr>
          <p:sp>
            <p:nvSpPr>
              <p:cNvPr id="1435" name="Freeform 1434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36" name="Freeform 1435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37" name="Freeform 1436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438" name="Freeform 1437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051903" y="5404586"/>
              <a:ext cx="18334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9" name="Freeform 1438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5024403" y="5431574"/>
              <a:ext cx="22918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440" name="Group 1439"/>
            <p:cNvGrpSpPr>
              <a:grpSpLocks/>
            </p:cNvGrpSpPr>
            <p:nvPr>
              <p:custDataLst>
                <p:tags r:id="rId259"/>
              </p:custDataLst>
            </p:nvPr>
          </p:nvGrpSpPr>
          <p:grpSpPr bwMode="auto">
            <a:xfrm>
              <a:off x="4871622" y="4923575"/>
              <a:ext cx="161948" cy="103187"/>
              <a:chOff x="3481" y="2773"/>
              <a:chExt cx="125" cy="65"/>
            </a:xfrm>
          </p:grpSpPr>
          <p:sp>
            <p:nvSpPr>
              <p:cNvPr id="1441" name="Freeform 1440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2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3" name="Freeform 1442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4" name="Freeform 1443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5" name="Freeform 1444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6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7" name="Freeform 1446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8" name="Freeform 1447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9" name="Freeform 1448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0" name="Freeform 1449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1" name="Freeform 1450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452" name="Freeform 1451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4032854" y="4915637"/>
              <a:ext cx="307090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3" name="Freeform 1452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043548" y="4888650"/>
              <a:ext cx="15278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4" name="Freeform 1453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141328" y="5431574"/>
              <a:ext cx="381953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55" name="Freeform 1454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4283414" y="3999650"/>
              <a:ext cx="395703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456" name="Group 1455"/>
            <p:cNvGrpSpPr>
              <a:grpSpLocks/>
            </p:cNvGrpSpPr>
            <p:nvPr>
              <p:custDataLst>
                <p:tags r:id="rId264"/>
              </p:custDataLst>
            </p:nvPr>
          </p:nvGrpSpPr>
          <p:grpSpPr bwMode="auto">
            <a:xfrm>
              <a:off x="3113111" y="4201261"/>
              <a:ext cx="77918" cy="82550"/>
              <a:chOff x="2352" y="2343"/>
              <a:chExt cx="65" cy="53"/>
            </a:xfrm>
          </p:grpSpPr>
          <p:sp>
            <p:nvSpPr>
              <p:cNvPr id="1457" name="Freeform 1456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8" name="Freeform 1457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9" name="Freeform 1458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0" name="Freeform 1459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1" name="Freeform 1460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2" name="Freeform 1461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463" name="Group 14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039871" y="2261337"/>
              <a:ext cx="1825735" cy="1133475"/>
              <a:chOff x="527" y="1110"/>
              <a:chExt cx="1410" cy="709"/>
            </a:xfrm>
          </p:grpSpPr>
          <p:sp>
            <p:nvSpPr>
              <p:cNvPr id="1464" name="Freeform 1463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5" name="Freeform 1464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6" name="Freeform 1465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7" name="Freeform 1466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8" name="Freeform 1467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9" name="Freeform 1468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0" name="Freeform 1469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1" name="Freeform 1470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2" name="Freeform 1471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3" name="Freeform 1472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4" name="Freeform 1473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5" name="Freeform 1474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6" name="Freeform 1475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7" name="Freeform 1476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8" name="Freeform 1477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9" name="Freeform 1478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0" name="Freeform 1479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1" name="Freeform 1480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2" name="Freeform 1481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3" name="Freeform 1482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4" name="Freeform 1483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5" name="Freeform 1484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6" name="Freeform 1485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7" name="Freeform 1486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8" name="Freeform 1487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9" name="Freeform 1488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0" name="Freeform 1489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1" name="Freeform 1490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2" name="Freeform 1491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3" name="Freeform 1492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4" name="Freeform 1493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5" name="Freeform 1494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6" name="Freeform 1495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7" name="Freeform 1496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8" name="Freeform 1497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9" name="Freeform 1498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0" name="Freeform 1499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1" name="Freeform 1500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2" name="Freeform 1501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3" name="Freeform 1502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4" name="Freeform 1503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5" name="Freeform 1504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506" name="Freeform 1505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4475919" y="4606074"/>
              <a:ext cx="122225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7" name="Freeform 1506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578282" y="4756886"/>
              <a:ext cx="6111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8" name="Freeform 1507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4087856" y="3993299"/>
              <a:ext cx="239866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9" name="Freeform 1508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3776182" y="3375761"/>
              <a:ext cx="15278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510" name="Group 1509"/>
            <p:cNvGrpSpPr>
              <a:grpSpLocks/>
            </p:cNvGrpSpPr>
            <p:nvPr>
              <p:custDataLst>
                <p:tags r:id="rId270"/>
              </p:custDataLst>
            </p:nvPr>
          </p:nvGrpSpPr>
          <p:grpSpPr bwMode="auto">
            <a:xfrm>
              <a:off x="2139895" y="5436337"/>
              <a:ext cx="369730" cy="1031875"/>
              <a:chOff x="1589" y="3126"/>
              <a:chExt cx="290" cy="657"/>
            </a:xfrm>
          </p:grpSpPr>
          <p:sp>
            <p:nvSpPr>
              <p:cNvPr id="1511" name="Freeform 1510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12" name="Freeform 1511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13" name="Freeform 1512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514" name="Freeform 1513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747870" y="3388461"/>
              <a:ext cx="119169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5" name="Freeform 1514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234524" y="2961424"/>
              <a:ext cx="201671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6" name="Freeform 1515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4097021" y="3293212"/>
              <a:ext cx="79446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17" name="Freeform 1516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2523376" y="4729899"/>
              <a:ext cx="79446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18" name="Freeform 1517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249803" y="3328136"/>
              <a:ext cx="128336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19" name="Freeform 1518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3629511" y="4255236"/>
              <a:ext cx="171115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0" name="Freeform 1519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3964102" y="4323499"/>
              <a:ext cx="186393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1" name="Freeform 1520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6323043" y="4082199"/>
              <a:ext cx="53474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2" name="Freeform 1521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1852666" y="4345725"/>
              <a:ext cx="287229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3" name="Freeform 152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020632" y="4614011"/>
              <a:ext cx="180282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4" name="Freeform 152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051187" y="3256699"/>
              <a:ext cx="122225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5" name="Freeform 152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003825" y="3115411"/>
              <a:ext cx="161948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6" name="Freeform 152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3968685" y="2970950"/>
              <a:ext cx="29028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7" name="Freeform 152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3941185" y="2975711"/>
              <a:ext cx="24445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8" name="Freeform 152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912156" y="2921736"/>
              <a:ext cx="5041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29" name="Freeform 152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327720" y="3726600"/>
              <a:ext cx="262784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530" name="Freeform 152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3938129" y="3361474"/>
              <a:ext cx="16805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1" name="Freeform 153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91316" y="3112236"/>
              <a:ext cx="284173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2" name="Freeform 153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631755" y="3347186"/>
              <a:ext cx="14514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3" name="Freeform 153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197858" y="3407511"/>
              <a:ext cx="142086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4" name="Freeform 153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78831" y="3599599"/>
              <a:ext cx="67224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35" name="Freeform 153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3392701" y="4331436"/>
              <a:ext cx="180282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6" name="Freeform 153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360521" y="3594837"/>
              <a:ext cx="666126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7" name="Freeform 153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3553121" y="4390175"/>
              <a:ext cx="152781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8" name="Freeform 153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581337" y="4585437"/>
              <a:ext cx="184866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9" name="Freeform 153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564532" y="3671037"/>
              <a:ext cx="9778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0" name="Freeform 153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851761" y="3774224"/>
              <a:ext cx="21389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" name="Freeform 154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165773" y="2909037"/>
              <a:ext cx="155837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2" name="Freeform 154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561476" y="3629761"/>
              <a:ext cx="29028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3" name="Freeform 154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384250" y="5641124"/>
              <a:ext cx="59584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4" name="Freeform 154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164245" y="2956661"/>
              <a:ext cx="126808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5" name="Freeform 154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3881600" y="3142400"/>
              <a:ext cx="18334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46" name="Freeform 154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552309" y="5026761"/>
              <a:ext cx="67224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7" name="Freeform 154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063411" y="3598011"/>
              <a:ext cx="13750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8" name="Freeform 154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370500" y="5218850"/>
              <a:ext cx="181810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9" name="Freeform 154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286471" y="4995011"/>
              <a:ext cx="282645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0" name="Freeform 154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032854" y="5268061"/>
              <a:ext cx="337646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1" name="Freeform 155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3339228" y="4198086"/>
              <a:ext cx="155837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2" name="Freeform 155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468280" y="4760062"/>
              <a:ext cx="259728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3" name="Freeform 155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6935695" y="3274161"/>
              <a:ext cx="18334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4" name="Freeform 155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6799720" y="3275749"/>
              <a:ext cx="135976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5" name="Freeform 155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770693" y="3629761"/>
              <a:ext cx="5041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6" name="Freeform 155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6718747" y="3644050"/>
              <a:ext cx="58057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7" name="Freeform 155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734024" y="3405925"/>
              <a:ext cx="201671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8" name="Freeform 155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408695" y="2296262"/>
              <a:ext cx="103891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59" name="Freeform 155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546198" y="2278799"/>
              <a:ext cx="61112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0" name="Freeform 155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4581338" y="2286736"/>
              <a:ext cx="125281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1" name="Freeform 156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5094683" y="2472474"/>
              <a:ext cx="39723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2" name="Freeform 156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5007598" y="2331186"/>
              <a:ext cx="15278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3" name="Freeform 156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5028987" y="2289912"/>
              <a:ext cx="13750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4" name="Freeform 156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5168018" y="2405799"/>
              <a:ext cx="16806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5" name="Freeform 156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5219963" y="2289912"/>
              <a:ext cx="90141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6" name="Freeform 156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5278019" y="2315312"/>
              <a:ext cx="9930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7" name="Freeform 156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5391077" y="2329599"/>
              <a:ext cx="79446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8" name="Freeform 156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5898312" y="2455011"/>
              <a:ext cx="76391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69" name="Freeform 156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962479" y="2472474"/>
              <a:ext cx="32085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0" name="Freeform 156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991509" y="2483586"/>
              <a:ext cx="5041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1" name="Freeform 157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771503" y="2456600"/>
              <a:ext cx="59584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2" name="Freeform 157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060259" y="2397861"/>
              <a:ext cx="134447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3" name="Freeform 157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6214568" y="2405799"/>
              <a:ext cx="91669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4" name="Freeform 157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6176372" y="2453425"/>
              <a:ext cx="61112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5" name="Freeform 157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6156512" y="2450250"/>
              <a:ext cx="19861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6" name="Line 504"/>
            <p:cNvSpPr>
              <a:spLocks noChangeShapeType="1"/>
            </p:cNvSpPr>
            <p:nvPr>
              <p:custDataLst>
                <p:tags r:id="rId333"/>
              </p:custDataLst>
            </p:nvPr>
          </p:nvSpPr>
          <p:spPr bwMode="auto">
            <a:xfrm flipV="1">
              <a:off x="6158039" y="2448661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" name="Freeform 157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5358994" y="2377224"/>
              <a:ext cx="10694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8" name="Freeform 157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080122" y="2448661"/>
              <a:ext cx="9167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9" name="Freeform 157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035815" y="2412149"/>
              <a:ext cx="9167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0" name="Freeform 157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517075" y="2982061"/>
              <a:ext cx="12222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1" name="Freeform 158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799720" y="2504225"/>
              <a:ext cx="53474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2" name="Freeform 158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931111" y="2856649"/>
              <a:ext cx="13751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3" name="Freeform 158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7074727" y="2969362"/>
              <a:ext cx="41251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4" name="Freeform 158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7123616" y="2985236"/>
              <a:ext cx="18334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5" name="Freeform 1584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6993753" y="3112236"/>
              <a:ext cx="13750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6" name="Freeform 158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004447" y="3140812"/>
              <a:ext cx="3056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7" name="Freeform 158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992225" y="3223362"/>
              <a:ext cx="9167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8" name="Freeform 158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970834" y="3258286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89" name="Freeform 158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970834" y="3258286"/>
              <a:ext cx="7640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0" name="Freeform 158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6734024" y="2845537"/>
              <a:ext cx="16805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1" name="Freeform 159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4150495" y="2985236"/>
              <a:ext cx="45834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2" name="Freeform 159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4582865" y="2577250"/>
              <a:ext cx="41250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3" name="Freeform 159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4616477" y="2389924"/>
              <a:ext cx="220005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4" name="Freeform 159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4416334" y="2701074"/>
              <a:ext cx="30556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95" name="Freeform 159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6634716" y="2997936"/>
              <a:ext cx="189449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596" name="Group 1595"/>
            <p:cNvGrpSpPr>
              <a:grpSpLocks/>
            </p:cNvGrpSpPr>
            <p:nvPr>
              <p:custDataLst>
                <p:tags r:id="rId353"/>
              </p:custDataLst>
            </p:nvPr>
          </p:nvGrpSpPr>
          <p:grpSpPr bwMode="auto">
            <a:xfrm>
              <a:off x="5470524" y="2953487"/>
              <a:ext cx="646265" cy="384175"/>
              <a:chOff x="4115" y="1551"/>
              <a:chExt cx="504" cy="244"/>
            </a:xfrm>
          </p:grpSpPr>
          <p:sp>
            <p:nvSpPr>
              <p:cNvPr id="1597" name="Freeform 1596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98" name="Freeform 1597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599" name="Freeform 1598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4563004" y="3702787"/>
              <a:ext cx="510289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0" name="Freeform 1599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4057298" y="3247174"/>
              <a:ext cx="55001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1" name="Freeform 1600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3806738" y="3459899"/>
              <a:ext cx="15278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2" name="Freeform 1601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3414090" y="3805974"/>
              <a:ext cx="27501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3" name="Freeform 1602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3357561" y="3821850"/>
              <a:ext cx="22917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4" name="Freeform 1603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3333116" y="3815499"/>
              <a:ext cx="6111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05" name="Freeform 1604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556893" y="3544036"/>
              <a:ext cx="168059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06" name="Freeform 1605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6572076" y="3925037"/>
              <a:ext cx="41250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07" name="Group 1606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4307859" y="3393224"/>
              <a:ext cx="464455" cy="201612"/>
              <a:chOff x="3289" y="1830"/>
              <a:chExt cx="363" cy="128"/>
            </a:xfrm>
          </p:grpSpPr>
          <p:sp>
            <p:nvSpPr>
              <p:cNvPr id="1608" name="Freeform 1607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09" name="Freeform 1608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0" name="Freeform 1609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1" name="Freeform 1610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2" name="Freeform 1611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613" name="Freeform 1612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2372123" y="4545750"/>
              <a:ext cx="9625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14" name="Freeform 1613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6168734" y="3982186"/>
              <a:ext cx="200143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15" name="Freeform 1614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6252763" y="4667986"/>
              <a:ext cx="24445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16" name="Freeform 1615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4993847" y="3926624"/>
              <a:ext cx="168059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17" name="Freeform 1616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768541" y="3980599"/>
              <a:ext cx="362092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18" name="Freeform 1617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450757" y="3598011"/>
              <a:ext cx="288757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19" name="Freeform 1618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124523" y="2528037"/>
              <a:ext cx="227643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0" name="Freeform 1619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4616477" y="2512162"/>
              <a:ext cx="103891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1" name="Freeform 1620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4753980" y="2494699"/>
              <a:ext cx="61112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2" name="Freeform 162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789121" y="2502636"/>
              <a:ext cx="125281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D763948-6AC3-480F-A9D4-CCD083A879FD}"/>
              </a:ext>
            </a:extLst>
          </p:cNvPr>
          <p:cNvSpPr txBox="1"/>
          <p:nvPr/>
        </p:nvSpPr>
        <p:spPr>
          <a:xfrm>
            <a:off x="786637" y="6232634"/>
            <a:ext cx="8991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oals model has been validated in historical analyses, versus other models with HIV Modeling Consortium. Fast-Track projections were validated by Optima. </a:t>
            </a:r>
          </a:p>
        </p:txBody>
      </p:sp>
    </p:spTree>
    <p:extLst>
      <p:ext uri="{BB962C8B-B14F-4D97-AF65-F5344CB8AC3E}">
        <p14:creationId xmlns:p14="http://schemas.microsoft.com/office/powerpoint/2010/main" val="17151930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 Model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951000476"/>
              </p:ext>
            </p:extLst>
          </p:nvPr>
        </p:nvGraphicFramePr>
        <p:xfrm>
          <a:off x="1560535" y="1050924"/>
          <a:ext cx="7924800" cy="49704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Up Arrow 10"/>
          <p:cNvSpPr/>
          <p:nvPr/>
        </p:nvSpPr>
        <p:spPr bwMode="auto">
          <a:xfrm>
            <a:off x="8418535" y="1431925"/>
            <a:ext cx="457200" cy="76200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808935" y="365125"/>
            <a:ext cx="1600200" cy="990600"/>
          </a:xfrm>
          <a:prstGeom prst="rect">
            <a:avLst/>
          </a:prstGeom>
          <a:solidFill>
            <a:schemeClr val="tx2"/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en-US" sz="1700" dirty="0">
                <a:solidFill>
                  <a:schemeClr val="bg1"/>
                </a:solidFill>
              </a:rPr>
              <a:t>Treatment</a:t>
            </a:r>
          </a:p>
        </p:txBody>
      </p:sp>
      <p:sp>
        <p:nvSpPr>
          <p:cNvPr id="13" name="Bent-Up Arrow 12"/>
          <p:cNvSpPr/>
          <p:nvPr/>
        </p:nvSpPr>
        <p:spPr bwMode="auto">
          <a:xfrm rot="10800000">
            <a:off x="6818335" y="669925"/>
            <a:ext cx="914400" cy="1371600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7771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 Model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930404070"/>
              </p:ext>
            </p:extLst>
          </p:nvPr>
        </p:nvGraphicFramePr>
        <p:xfrm>
          <a:off x="1560535" y="1050925"/>
          <a:ext cx="79248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117146731"/>
              </p:ext>
            </p:extLst>
          </p:nvPr>
        </p:nvGraphicFramePr>
        <p:xfrm>
          <a:off x="2855935" y="5013325"/>
          <a:ext cx="5257800" cy="144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Up Arrow 7"/>
          <p:cNvSpPr/>
          <p:nvPr/>
        </p:nvSpPr>
        <p:spPr bwMode="auto">
          <a:xfrm>
            <a:off x="3694135" y="4175125"/>
            <a:ext cx="457200" cy="76200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9" name="Up Arrow 8"/>
          <p:cNvSpPr/>
          <p:nvPr/>
        </p:nvSpPr>
        <p:spPr bwMode="auto">
          <a:xfrm>
            <a:off x="6742135" y="4175125"/>
            <a:ext cx="457200" cy="76200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27535" y="4175125"/>
            <a:ext cx="2362200" cy="70788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Coverage</a:t>
            </a:r>
          </a:p>
          <a:p>
            <a:pPr algn="ctr"/>
            <a:r>
              <a:rPr lang="en-US" sz="2000" dirty="0"/>
              <a:t>Effectiveness</a:t>
            </a:r>
          </a:p>
        </p:txBody>
      </p:sp>
      <p:sp>
        <p:nvSpPr>
          <p:cNvPr id="11" name="Up Arrow 10"/>
          <p:cNvSpPr/>
          <p:nvPr/>
        </p:nvSpPr>
        <p:spPr bwMode="auto">
          <a:xfrm>
            <a:off x="8418535" y="1431925"/>
            <a:ext cx="457200" cy="76200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808935" y="365125"/>
            <a:ext cx="1600200" cy="990600"/>
          </a:xfrm>
          <a:prstGeom prst="rect">
            <a:avLst/>
          </a:prstGeom>
          <a:solidFill>
            <a:schemeClr val="tx2"/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en-US" sz="1700" dirty="0">
                <a:solidFill>
                  <a:schemeClr val="bg1"/>
                </a:solidFill>
              </a:rPr>
              <a:t>Treatment</a:t>
            </a:r>
          </a:p>
        </p:txBody>
      </p:sp>
      <p:sp>
        <p:nvSpPr>
          <p:cNvPr id="13" name="Bent-Up Arrow 12"/>
          <p:cNvSpPr/>
          <p:nvPr/>
        </p:nvSpPr>
        <p:spPr bwMode="auto">
          <a:xfrm rot="10800000">
            <a:off x="6818335" y="669925"/>
            <a:ext cx="914400" cy="1371600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6</a:t>
            </a:fld>
            <a:endParaRPr lang="en-US" dirty="0"/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6970735" y="6412575"/>
            <a:ext cx="0" cy="30890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4038741" y="6412575"/>
            <a:ext cx="0" cy="30890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 flipH="1">
            <a:off x="4038741" y="6721475"/>
            <a:ext cx="2931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896292" y="5327366"/>
            <a:ext cx="113948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600" dirty="0"/>
              <a:t>PEP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600" dirty="0"/>
              <a:t>STI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600" dirty="0"/>
              <a:t>NSEP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600" dirty="0"/>
              <a:t>OS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A866A3B-F9F9-4942-95DF-ADE825767E45}"/>
              </a:ext>
            </a:extLst>
          </p:cNvPr>
          <p:cNvSpPr txBox="1"/>
          <p:nvPr/>
        </p:nvSpPr>
        <p:spPr>
          <a:xfrm>
            <a:off x="10323661" y="365125"/>
            <a:ext cx="1681655" cy="9233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n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herence</a:t>
            </a:r>
          </a:p>
        </p:txBody>
      </p:sp>
      <p:sp>
        <p:nvSpPr>
          <p:cNvPr id="35" name="Up Arrow 10">
            <a:extLst>
              <a:ext uri="{FF2B5EF4-FFF2-40B4-BE49-F238E27FC236}">
                <a16:creationId xmlns:a16="http://schemas.microsoft.com/office/drawing/2014/main" id="{E1CC64D5-33BC-4DC9-900F-09068E633975}"/>
              </a:ext>
            </a:extLst>
          </p:cNvPr>
          <p:cNvSpPr/>
          <p:nvPr/>
        </p:nvSpPr>
        <p:spPr bwMode="auto">
          <a:xfrm rot="16200000">
            <a:off x="9637735" y="457484"/>
            <a:ext cx="457200" cy="76200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33555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 Model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638368478"/>
              </p:ext>
            </p:extLst>
          </p:nvPr>
        </p:nvGraphicFramePr>
        <p:xfrm>
          <a:off x="1560535" y="1050925"/>
          <a:ext cx="79248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586927463"/>
              </p:ext>
            </p:extLst>
          </p:nvPr>
        </p:nvGraphicFramePr>
        <p:xfrm>
          <a:off x="2855935" y="5013325"/>
          <a:ext cx="5257800" cy="144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Up Arrow 7"/>
          <p:cNvSpPr/>
          <p:nvPr/>
        </p:nvSpPr>
        <p:spPr bwMode="auto">
          <a:xfrm>
            <a:off x="3694135" y="4175125"/>
            <a:ext cx="457200" cy="76200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9" name="Up Arrow 8"/>
          <p:cNvSpPr/>
          <p:nvPr/>
        </p:nvSpPr>
        <p:spPr bwMode="auto">
          <a:xfrm>
            <a:off x="6742135" y="4175125"/>
            <a:ext cx="457200" cy="76200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27535" y="4175125"/>
            <a:ext cx="2362200" cy="70788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Coverage</a:t>
            </a:r>
          </a:p>
          <a:p>
            <a:pPr algn="ctr"/>
            <a:r>
              <a:rPr lang="en-US" sz="2000" dirty="0"/>
              <a:t>Effectiveness</a:t>
            </a:r>
          </a:p>
        </p:txBody>
      </p:sp>
      <p:sp>
        <p:nvSpPr>
          <p:cNvPr id="11" name="Up Arrow 10"/>
          <p:cNvSpPr/>
          <p:nvPr/>
        </p:nvSpPr>
        <p:spPr bwMode="auto">
          <a:xfrm>
            <a:off x="8418535" y="1431925"/>
            <a:ext cx="457200" cy="76200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808935" y="365125"/>
            <a:ext cx="1600200" cy="990600"/>
          </a:xfrm>
          <a:prstGeom prst="rect">
            <a:avLst/>
          </a:prstGeom>
          <a:solidFill>
            <a:schemeClr val="tx2"/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algn="ctr"/>
            <a:r>
              <a:rPr lang="en-US" sz="1700" dirty="0">
                <a:solidFill>
                  <a:schemeClr val="bg1"/>
                </a:solidFill>
              </a:rPr>
              <a:t>Treatment</a:t>
            </a:r>
          </a:p>
        </p:txBody>
      </p:sp>
      <p:sp>
        <p:nvSpPr>
          <p:cNvPr id="13" name="Bent-Up Arrow 12"/>
          <p:cNvSpPr/>
          <p:nvPr/>
        </p:nvSpPr>
        <p:spPr bwMode="auto">
          <a:xfrm rot="10800000">
            <a:off x="6818335" y="669925"/>
            <a:ext cx="914400" cy="1371600"/>
          </a:xfrm>
          <a:prstGeom prst="bentUpArrow">
            <a:avLst>
              <a:gd name="adj1" fmla="val 25000"/>
              <a:gd name="adj2" fmla="val 25000"/>
              <a:gd name="adj3" fmla="val 25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7</a:t>
            </a:fld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159075" y="5375275"/>
            <a:ext cx="2456891" cy="993604"/>
            <a:chOff x="25" y="411105"/>
            <a:chExt cx="2456891" cy="993604"/>
          </a:xfrm>
        </p:grpSpPr>
        <p:sp>
          <p:nvSpPr>
            <p:cNvPr id="15" name="Rectangle 14"/>
            <p:cNvSpPr/>
            <p:nvPr/>
          </p:nvSpPr>
          <p:spPr>
            <a:xfrm>
              <a:off x="25" y="411105"/>
              <a:ext cx="2456891" cy="993604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Rectangle 15"/>
            <p:cNvSpPr/>
            <p:nvPr/>
          </p:nvSpPr>
          <p:spPr>
            <a:xfrm>
              <a:off x="25" y="411105"/>
              <a:ext cx="2456891" cy="9936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dirty="0"/>
                <a:t>Policy / regulations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dirty="0"/>
                <a:t>Research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kern="1200" dirty="0"/>
                <a:t>M&amp;E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600" dirty="0"/>
                <a:t>Planning</a:t>
              </a:r>
              <a:endParaRPr lang="en-US" sz="1600" kern="12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59075" y="5050955"/>
            <a:ext cx="2456891" cy="368016"/>
            <a:chOff x="25" y="43089"/>
            <a:chExt cx="2456891" cy="368016"/>
          </a:xfrm>
        </p:grpSpPr>
        <p:sp>
          <p:nvSpPr>
            <p:cNvPr id="18" name="Rectangle 17"/>
            <p:cNvSpPr/>
            <p:nvPr/>
          </p:nvSpPr>
          <p:spPr>
            <a:xfrm>
              <a:off x="25" y="43089"/>
              <a:ext cx="2456891" cy="36801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>
            <a:xfrm>
              <a:off x="25" y="43089"/>
              <a:ext cx="2456891" cy="3680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568" tIns="56896" rIns="99568" bIns="56896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dirty="0"/>
                <a:t>National HIV/AIDS Programs</a:t>
              </a:r>
              <a:endParaRPr lang="en-US" sz="1000" kern="1200" dirty="0"/>
            </a:p>
          </p:txBody>
        </p:sp>
      </p:grpSp>
      <p:cxnSp>
        <p:nvCxnSpPr>
          <p:cNvPr id="20" name="Straight Arrow Connector 19"/>
          <p:cNvCxnSpPr/>
          <p:nvPr/>
        </p:nvCxnSpPr>
        <p:spPr>
          <a:xfrm flipV="1">
            <a:off x="6970735" y="6412575"/>
            <a:ext cx="0" cy="30890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4038741" y="6412575"/>
            <a:ext cx="0" cy="308900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1091821" y="6721475"/>
            <a:ext cx="587891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1091821" y="6412575"/>
            <a:ext cx="0" cy="3089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/>
        </p:nvGrpSpPr>
        <p:grpSpPr>
          <a:xfrm>
            <a:off x="8649402" y="5362745"/>
            <a:ext cx="2456891" cy="1228555"/>
            <a:chOff x="25" y="411105"/>
            <a:chExt cx="2456891" cy="993604"/>
          </a:xfrm>
        </p:grpSpPr>
        <p:sp>
          <p:nvSpPr>
            <p:cNvPr id="24" name="Rectangle 23"/>
            <p:cNvSpPr/>
            <p:nvPr/>
          </p:nvSpPr>
          <p:spPr>
            <a:xfrm>
              <a:off x="25" y="411105"/>
              <a:ext cx="2456891" cy="993604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25" y="411105"/>
              <a:ext cx="2456891" cy="9936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1600" dirty="0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8649402" y="4959350"/>
            <a:ext cx="2456891" cy="368016"/>
            <a:chOff x="25" y="43089"/>
            <a:chExt cx="2456891" cy="368016"/>
          </a:xfrm>
        </p:grpSpPr>
        <p:sp>
          <p:nvSpPr>
            <p:cNvPr id="28" name="Rectangle 27"/>
            <p:cNvSpPr/>
            <p:nvPr/>
          </p:nvSpPr>
          <p:spPr>
            <a:xfrm>
              <a:off x="25" y="43089"/>
              <a:ext cx="2456891" cy="36801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25" y="43089"/>
              <a:ext cx="2456891" cy="3680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568" tIns="56896" rIns="99568" bIns="56896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dirty="0"/>
                <a:t>Social Enablers</a:t>
              </a:r>
              <a:endParaRPr lang="en-US" sz="1000" kern="1200" dirty="0"/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8733641" y="5362746"/>
            <a:ext cx="262015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Stigma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Human right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Decriminalization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dirty="0"/>
              <a:t>Comm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cxnSp>
        <p:nvCxnSpPr>
          <p:cNvPr id="37" name="Straight Connector 36"/>
          <p:cNvCxnSpPr/>
          <p:nvPr/>
        </p:nvCxnSpPr>
        <p:spPr>
          <a:xfrm>
            <a:off x="6970735" y="6721475"/>
            <a:ext cx="2798907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 flipV="1">
            <a:off x="9769642" y="6591300"/>
            <a:ext cx="17000" cy="13619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B334321A-6A60-48FF-A18F-7B7AC976EFB4}"/>
              </a:ext>
            </a:extLst>
          </p:cNvPr>
          <p:cNvSpPr txBox="1"/>
          <p:nvPr/>
        </p:nvSpPr>
        <p:spPr>
          <a:xfrm>
            <a:off x="10323661" y="365125"/>
            <a:ext cx="1681655" cy="9233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n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herence</a:t>
            </a:r>
          </a:p>
        </p:txBody>
      </p:sp>
      <p:sp>
        <p:nvSpPr>
          <p:cNvPr id="33" name="Up Arrow 10">
            <a:extLst>
              <a:ext uri="{FF2B5EF4-FFF2-40B4-BE49-F238E27FC236}">
                <a16:creationId xmlns:a16="http://schemas.microsoft.com/office/drawing/2014/main" id="{CCFD7668-4FF7-4195-AA94-BA2F767D9CDD}"/>
              </a:ext>
            </a:extLst>
          </p:cNvPr>
          <p:cNvSpPr/>
          <p:nvPr/>
        </p:nvSpPr>
        <p:spPr bwMode="auto">
          <a:xfrm rot="16200000">
            <a:off x="9637735" y="457484"/>
            <a:ext cx="457200" cy="762000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atin typeface="Tahoma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35EB1AB-231A-4201-A020-497F8391C8E4}"/>
              </a:ext>
            </a:extLst>
          </p:cNvPr>
          <p:cNvSpPr txBox="1"/>
          <p:nvPr/>
        </p:nvSpPr>
        <p:spPr>
          <a:xfrm>
            <a:off x="6896292" y="5327366"/>
            <a:ext cx="113948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600" dirty="0"/>
              <a:t>PEP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600" dirty="0"/>
              <a:t>STI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600" dirty="0"/>
              <a:t>NSEP</a:t>
            </a:r>
          </a:p>
          <a:p>
            <a:pPr marL="112713" indent="-112713">
              <a:buFont typeface="Arial" panose="020B0604020202020204" pitchFamily="34" charset="0"/>
              <a:buChar char="•"/>
            </a:pPr>
            <a:r>
              <a:rPr lang="en-US" sz="1600" dirty="0"/>
              <a:t>OST</a:t>
            </a:r>
          </a:p>
        </p:txBody>
      </p:sp>
    </p:spTree>
    <p:extLst>
      <p:ext uri="{BB962C8B-B14F-4D97-AF65-F5344CB8AC3E}">
        <p14:creationId xmlns:p14="http://schemas.microsoft.com/office/powerpoint/2010/main" val="3946484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A17216-ACC1-44C6-B926-61E49341A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6842"/>
            <a:ext cx="10515600" cy="910222"/>
          </a:xfrm>
        </p:spPr>
        <p:txBody>
          <a:bodyPr>
            <a:normAutofit/>
          </a:bodyPr>
          <a:lstStyle/>
          <a:p>
            <a:r>
              <a:rPr lang="en-US" sz="4800" dirty="0"/>
              <a:t>Prevention Interventions and Population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A2A95CD-41F3-4D0E-86DB-75547FEC114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72574156"/>
              </p:ext>
            </p:extLst>
          </p:nvPr>
        </p:nvGraphicFramePr>
        <p:xfrm>
          <a:off x="838200" y="1079467"/>
          <a:ext cx="10515600" cy="536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4095">
                  <a:extLst>
                    <a:ext uri="{9D8B030D-6E8A-4147-A177-3AD203B41FA5}">
                      <a16:colId xmlns:a16="http://schemas.microsoft.com/office/drawing/2014/main" val="589181507"/>
                    </a:ext>
                  </a:extLst>
                </a:gridCol>
                <a:gridCol w="1058779">
                  <a:extLst>
                    <a:ext uri="{9D8B030D-6E8A-4147-A177-3AD203B41FA5}">
                      <a16:colId xmlns:a16="http://schemas.microsoft.com/office/drawing/2014/main" val="1514784462"/>
                    </a:ext>
                  </a:extLst>
                </a:gridCol>
                <a:gridCol w="830179">
                  <a:extLst>
                    <a:ext uri="{9D8B030D-6E8A-4147-A177-3AD203B41FA5}">
                      <a16:colId xmlns:a16="http://schemas.microsoft.com/office/drawing/2014/main" val="1861133474"/>
                    </a:ext>
                  </a:extLst>
                </a:gridCol>
                <a:gridCol w="1503947">
                  <a:extLst>
                    <a:ext uri="{9D8B030D-6E8A-4147-A177-3AD203B41FA5}">
                      <a16:colId xmlns:a16="http://schemas.microsoft.com/office/drawing/2014/main" val="3181583829"/>
                    </a:ext>
                  </a:extLst>
                </a:gridCol>
                <a:gridCol w="962526">
                  <a:extLst>
                    <a:ext uri="{9D8B030D-6E8A-4147-A177-3AD203B41FA5}">
                      <a16:colId xmlns:a16="http://schemas.microsoft.com/office/drawing/2014/main" val="2387460491"/>
                    </a:ext>
                  </a:extLst>
                </a:gridCol>
                <a:gridCol w="1130969">
                  <a:extLst>
                    <a:ext uri="{9D8B030D-6E8A-4147-A177-3AD203B41FA5}">
                      <a16:colId xmlns:a16="http://schemas.microsoft.com/office/drawing/2014/main" val="4189350976"/>
                    </a:ext>
                  </a:extLst>
                </a:gridCol>
                <a:gridCol w="890337">
                  <a:extLst>
                    <a:ext uri="{9D8B030D-6E8A-4147-A177-3AD203B41FA5}">
                      <a16:colId xmlns:a16="http://schemas.microsoft.com/office/drawing/2014/main" val="3396068505"/>
                    </a:ext>
                  </a:extLst>
                </a:gridCol>
                <a:gridCol w="1054768">
                  <a:extLst>
                    <a:ext uri="{9D8B030D-6E8A-4147-A177-3AD203B41FA5}">
                      <a16:colId xmlns:a16="http://schemas.microsoft.com/office/drawing/2014/main" val="147535153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nterven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x work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S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ransgender Peo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W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iso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GYW</a:t>
                      </a:r>
                    </a:p>
                    <a:p>
                      <a:r>
                        <a:rPr lang="en-US" dirty="0"/>
                        <a:t>ABY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5+ with multiple partn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6139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doms with non-regular part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49320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ndoms with regular part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75177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5260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02486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TI screening &amp; treat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8487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lean needles &amp; syri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8466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pioid substitu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3144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prehensive sexuality edu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7724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conomic empower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09045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VMM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√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4001111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71F863-410C-4288-A4D3-8787B9D14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0574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E95D989-81FA-4BAD-9AD5-E46CEDA91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3" cy="6858000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5889261-6588-4E9C-843B-2F2A5C120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048" y="811161"/>
            <a:ext cx="3616746" cy="540337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Targets can be differentiated by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56189E5-8A3E-4CFD-B71B-CCD0F8495E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293" y="0"/>
            <a:ext cx="142074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47CEBB-DC05-4AB3-9362-4306B2CB7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0232" y="6108192"/>
            <a:ext cx="548640" cy="548640"/>
          </a:xfrm>
          <a:prstGeom prst="ellipse">
            <a:avLst/>
          </a:prstGeom>
          <a:solidFill>
            <a:srgbClr val="898989"/>
          </a:solidFill>
        </p:spPr>
        <p:txBody>
          <a:bodyPr>
            <a:normAutofit/>
          </a:bodyPr>
          <a:lstStyle/>
          <a:p>
            <a:pPr algn="ctr">
              <a:spcAft>
                <a:spcPts val="600"/>
              </a:spcAft>
            </a:pPr>
            <a:fld id="{48F63A3B-78C7-47BE-AE5E-E10140E04643}" type="slidenum">
              <a:rPr lang="en-US" sz="1500">
                <a:solidFill>
                  <a:srgbClr val="FFFFFF">
                    <a:alpha val="80000"/>
                  </a:srgbClr>
                </a:solidFill>
              </a:rPr>
              <a:pPr algn="ctr">
                <a:spcAft>
                  <a:spcPts val="600"/>
                </a:spcAft>
              </a:pPr>
              <a:t>9</a:t>
            </a:fld>
            <a:endParaRPr lang="en-US" sz="1500">
              <a:solidFill>
                <a:srgbClr val="FFFFFF">
                  <a:alpha val="80000"/>
                </a:srgbClr>
              </a:solidFill>
            </a:endParaRPr>
          </a:p>
        </p:txBody>
      </p:sp>
      <p:graphicFrame>
        <p:nvGraphicFramePr>
          <p:cNvPr id="12" name="Content Placeholder 8">
            <a:extLst>
              <a:ext uri="{FF2B5EF4-FFF2-40B4-BE49-F238E27FC236}">
                <a16:creationId xmlns:a16="http://schemas.microsoft.com/office/drawing/2014/main" id="{41648D4A-C26C-4699-900F-778FE59B0F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60907350"/>
              </p:ext>
            </p:extLst>
          </p:nvPr>
        </p:nvGraphicFramePr>
        <p:xfrm>
          <a:off x="5459413" y="642938"/>
          <a:ext cx="6089650" cy="55721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49139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1</TotalTime>
  <Words>748</Words>
  <Application>Microsoft Office PowerPoint</Application>
  <PresentationFormat>Widescreen</PresentationFormat>
  <Paragraphs>260</Paragraphs>
  <Slides>14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Calibri Light</vt:lpstr>
      <vt:lpstr>Tahoma</vt:lpstr>
      <vt:lpstr>Office Theme</vt:lpstr>
      <vt:lpstr>Modeling the End of AIDS</vt:lpstr>
      <vt:lpstr>Key Questions </vt:lpstr>
      <vt:lpstr>HIV Disease Dynamics Model Structure</vt:lpstr>
      <vt:lpstr>Methods: Impact Estimated with Goals Model</vt:lpstr>
      <vt:lpstr>Goals Model</vt:lpstr>
      <vt:lpstr>Goals Model</vt:lpstr>
      <vt:lpstr>Goals Model</vt:lpstr>
      <vt:lpstr>Prevention Interventions and Populations</vt:lpstr>
      <vt:lpstr>Targets can be differentiated by </vt:lpstr>
      <vt:lpstr>Treatment Cascade</vt:lpstr>
      <vt:lpstr>Social Enablers</vt:lpstr>
      <vt:lpstr>Illustrative Resource Needs by Intervention, Country and Year</vt:lpstr>
      <vt:lpstr>Illustrative Global Impact</vt:lpstr>
      <vt:lpstr>Goals Model Applica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rgets in Fast-Track 2016 and  Recommendations from Program Impact Modeling Advisory Group</dc:title>
  <dc:creator>John Stover</dc:creator>
  <cp:lastModifiedBy>John Stover</cp:lastModifiedBy>
  <cp:revision>17</cp:revision>
  <dcterms:created xsi:type="dcterms:W3CDTF">2019-03-26T12:59:29Z</dcterms:created>
  <dcterms:modified xsi:type="dcterms:W3CDTF">2019-07-21T20:48:39Z</dcterms:modified>
</cp:coreProperties>
</file>